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79" r:id="rId2"/>
    <p:sldId id="280" r:id="rId3"/>
    <p:sldId id="281" r:id="rId4"/>
    <p:sldId id="282" r:id="rId5"/>
    <p:sldId id="293" r:id="rId6"/>
    <p:sldId id="283" r:id="rId7"/>
    <p:sldId id="292" r:id="rId8"/>
    <p:sldId id="277" r:id="rId9"/>
    <p:sldId id="288" r:id="rId10"/>
    <p:sldId id="289" r:id="rId11"/>
    <p:sldId id="291" r:id="rId12"/>
    <p:sldId id="278" r:id="rId13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3F3F3"/>
    <a:srgbClr val="ECE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A488322-F2BA-4B5B-9748-0D474271808F}" styleName="Estilo medio 3 - 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765" autoAdjust="0"/>
    <p:restoredTop sz="94660"/>
  </p:normalViewPr>
  <p:slideViewPr>
    <p:cSldViewPr snapToGrid="0">
      <p:cViewPr varScale="1">
        <p:scale>
          <a:sx n="74" d="100"/>
          <a:sy n="74" d="100"/>
        </p:scale>
        <p:origin x="50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 w="1905000" h="1905000" prst="coolSlant"/>
            </a:sp3d>
          </c:spPr>
          <c:dPt>
            <c:idx val="0"/>
            <c:bubble3D val="0"/>
            <c:spPr>
              <a:gradFill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b="100000"/>
                </a:path>
              </a:gradFill>
              <a:scene3d>
                <a:camera prst="orthographicFront"/>
                <a:lightRig rig="threePt" dir="t"/>
              </a:scene3d>
              <a:sp3d>
                <a:bevelT w="1905000" h="1905000" prst="coolSlant"/>
              </a:sp3d>
            </c:spPr>
          </c:dPt>
          <c:dPt>
            <c:idx val="1"/>
            <c:bubble3D val="0"/>
            <c:spPr>
              <a:gradFill flip="none" rotWithShape="1">
                <a:gsLst>
                  <a:gs pos="0">
                    <a:schemeClr val="bg1">
                      <a:lumMod val="65000"/>
                    </a:schemeClr>
                  </a:gs>
                  <a:gs pos="100000">
                    <a:schemeClr val="tx1">
                      <a:lumMod val="75000"/>
                      <a:lumOff val="25000"/>
                    </a:schemeClr>
                  </a:gs>
                </a:gsLst>
                <a:path path="circle">
                  <a:fillToRect r="100000" b="100000"/>
                </a:path>
                <a:tileRect l="-100000" t="-100000"/>
              </a:gradFill>
              <a:scene3d>
                <a:camera prst="orthographicFront"/>
                <a:lightRig rig="threePt" dir="t"/>
              </a:scene3d>
              <a:sp3d>
                <a:bevelT w="1905000" h="1905000" prst="coolSlant"/>
              </a:sp3d>
            </c:spPr>
          </c:dPt>
          <c:dPt>
            <c:idx val="2"/>
            <c:bubble3D val="0"/>
            <c:spPr>
              <a:gradFill flip="none" rotWithShape="1"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5400000" scaled="1"/>
                <a:tileRect/>
              </a:gradFill>
              <a:scene3d>
                <a:camera prst="orthographicFront"/>
                <a:lightRig rig="threePt" dir="t"/>
              </a:scene3d>
              <a:sp3d>
                <a:bevelT w="1905000" h="1905000" prst="coolSlant"/>
              </a:sp3d>
            </c:spPr>
          </c:dPt>
          <c:dPt>
            <c:idx val="3"/>
            <c:bubble3D val="0"/>
            <c:explosion val="20"/>
            <c:spPr>
              <a:gradFill flip="none" rotWithShape="1">
                <a:gsLst>
                  <a:gs pos="0">
                    <a:srgbClr val="2A9B18">
                      <a:lumMod val="71000"/>
                    </a:srgbClr>
                  </a:gs>
                  <a:gs pos="100000">
                    <a:srgbClr val="2A9B18"/>
                  </a:gs>
                </a:gsLst>
                <a:path path="circle">
                  <a:fillToRect t="100000" r="100000"/>
                </a:path>
                <a:tileRect l="-100000" b="-100000"/>
              </a:gradFill>
              <a:scene3d>
                <a:camera prst="orthographicFront"/>
                <a:lightRig rig="threePt" dir="t"/>
              </a:scene3d>
              <a:sp3d>
                <a:bevelT w="1905000" h="1905000" prst="coolSlant"/>
              </a:sp3d>
            </c:spPr>
          </c:dPt>
          <c:dPt>
            <c:idx val="4"/>
            <c:bubble3D val="0"/>
            <c:spPr>
              <a:gradFill flip="none" rotWithShape="1">
                <a:gsLst>
                  <a:gs pos="0">
                    <a:srgbClr val="0D65AC"/>
                  </a:gs>
                  <a:gs pos="100000">
                    <a:schemeClr val="accent1">
                      <a:lumMod val="50000"/>
                    </a:schemeClr>
                  </a:gs>
                </a:gsLst>
                <a:path path="circle">
                  <a:fillToRect l="100000" b="100000"/>
                </a:path>
                <a:tileRect t="-100000" r="-100000"/>
              </a:gradFill>
              <a:scene3d>
                <a:camera prst="orthographicFront"/>
                <a:lightRig rig="threePt" dir="t"/>
              </a:scene3d>
              <a:sp3d>
                <a:bevelT w="1905000" h="1905000" prst="coolSlant"/>
              </a:sp3d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200">
                      <a:solidFill>
                        <a:schemeClr val="tx1"/>
                      </a:solidFill>
                    </a:defRPr>
                  </a:pPr>
                  <a:endParaRPr lang="es-ES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2"/>
              <c:spPr/>
              <c:txPr>
                <a:bodyPr/>
                <a:lstStyle/>
                <a:p>
                  <a:pPr>
                    <a:defRPr sz="1200">
                      <a:solidFill>
                        <a:schemeClr val="tx1"/>
                      </a:solidFill>
                    </a:defRPr>
                  </a:pPr>
                  <a:endParaRPr lang="es-ES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0.11743274278215222"/>
                  <c:y val="-0.20028001968503936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6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15</c:v>
                </c:pt>
                <c:pt idx="3">
                  <c:v>10</c:v>
                </c:pt>
                <c:pt idx="4">
                  <c:v>3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scene3d>
          <a:camera prst="orthographicFront"/>
          <a:lightRig rig="threePt" dir="t"/>
        </a:scene3d>
        <a:sp3d>
          <a:bevelT w="165100" prst="coolSlant"/>
        </a:sp3d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27365A-536B-4545-9764-172D5FC29168}" type="datetimeFigureOut">
              <a:rPr lang="es-MX" smtClean="0"/>
              <a:t>16/04/2016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358434-D6E7-4C38-AF85-B8E2C1D4844D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0881141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Shape 62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8" name="Shape 62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863879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Shape 17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6" name="Shape 17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194873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Shape 17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6" name="Shape 17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442897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8A2BDD-F829-4625-A009-624C00639562}" type="datetimeFigureOut">
              <a:rPr lang="es-MX" smtClean="0"/>
              <a:t>16/04/2016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9A69E-1B0B-4114-8D57-29086932A6F3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564601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8A2BDD-F829-4625-A009-624C00639562}" type="datetimeFigureOut">
              <a:rPr lang="es-MX" smtClean="0"/>
              <a:t>16/04/2016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9A69E-1B0B-4114-8D57-29086932A6F3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1247930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8A2BDD-F829-4625-A009-624C00639562}" type="datetimeFigureOut">
              <a:rPr lang="es-MX" smtClean="0"/>
              <a:t>16/04/2016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9A69E-1B0B-4114-8D57-29086932A6F3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1046994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5521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8A2BDD-F829-4625-A009-624C00639562}" type="datetimeFigureOut">
              <a:rPr lang="es-MX" smtClean="0"/>
              <a:t>16/04/2016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9A69E-1B0B-4114-8D57-29086932A6F3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9143672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8A2BDD-F829-4625-A009-624C00639562}" type="datetimeFigureOut">
              <a:rPr lang="es-MX" smtClean="0"/>
              <a:t>16/04/2016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9A69E-1B0B-4114-8D57-29086932A6F3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813466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8A2BDD-F829-4625-A009-624C00639562}" type="datetimeFigureOut">
              <a:rPr lang="es-MX" smtClean="0"/>
              <a:t>16/04/2016</a:t>
            </a:fld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9A69E-1B0B-4114-8D57-29086932A6F3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840781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8A2BDD-F829-4625-A009-624C00639562}" type="datetimeFigureOut">
              <a:rPr lang="es-MX" smtClean="0"/>
              <a:t>16/04/2016</a:t>
            </a:fld>
            <a:endParaRPr lang="es-MX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9A69E-1B0B-4114-8D57-29086932A6F3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9448054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8A2BDD-F829-4625-A009-624C00639562}" type="datetimeFigureOut">
              <a:rPr lang="es-MX" smtClean="0"/>
              <a:t>16/04/2016</a:t>
            </a:fld>
            <a:endParaRPr lang="es-MX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9A69E-1B0B-4114-8D57-29086932A6F3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6857044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8A2BDD-F829-4625-A009-624C00639562}" type="datetimeFigureOut">
              <a:rPr lang="es-MX" smtClean="0"/>
              <a:t>16/04/2016</a:t>
            </a:fld>
            <a:endParaRPr lang="es-MX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9A69E-1B0B-4114-8D57-29086932A6F3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977035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8A2BDD-F829-4625-A009-624C00639562}" type="datetimeFigureOut">
              <a:rPr lang="es-MX" smtClean="0"/>
              <a:t>16/04/2016</a:t>
            </a:fld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9A69E-1B0B-4114-8D57-29086932A6F3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9923317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8A2BDD-F829-4625-A009-624C00639562}" type="datetimeFigureOut">
              <a:rPr lang="es-MX" smtClean="0"/>
              <a:t>16/04/2016</a:t>
            </a:fld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9A69E-1B0B-4114-8D57-29086932A6F3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634986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8A2BDD-F829-4625-A009-624C00639562}" type="datetimeFigureOut">
              <a:rPr lang="es-MX" smtClean="0"/>
              <a:t>16/04/2016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09A69E-1B0B-4114-8D57-29086932A6F3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798751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chart" Target="../charts/chart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n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4099" y="2194853"/>
            <a:ext cx="2520280" cy="1399212"/>
          </a:xfrm>
          <a:prstGeom prst="rect">
            <a:avLst/>
          </a:prstGeom>
        </p:spPr>
      </p:pic>
      <p:sp>
        <p:nvSpPr>
          <p:cNvPr id="16" name="Título 1"/>
          <p:cNvSpPr txBox="1">
            <a:spLocks/>
          </p:cNvSpPr>
          <p:nvPr/>
        </p:nvSpPr>
        <p:spPr>
          <a:xfrm>
            <a:off x="2759000" y="4066642"/>
            <a:ext cx="7451420" cy="6577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90000"/>
              </a:lnSpc>
              <a:spcBef>
                <a:spcPts val="0"/>
              </a:spcBef>
            </a:pPr>
            <a:r>
              <a:rPr lang="es-ES" sz="2800" noProof="1">
                <a:solidFill>
                  <a:schemeClr val="bg2">
                    <a:lumMod val="50000"/>
                  </a:schemeClr>
                </a:solidFill>
                <a:latin typeface="Aleo Regular"/>
              </a:rPr>
              <a:t>iLow Polímero Conductor de Electricidad</a:t>
            </a:r>
          </a:p>
        </p:txBody>
      </p:sp>
      <p:pic>
        <p:nvPicPr>
          <p:cNvPr id="54" name="Imagen 5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8788" y="379443"/>
            <a:ext cx="2067590" cy="964145"/>
          </a:xfrm>
          <a:prstGeom prst="rect">
            <a:avLst/>
          </a:prstGeom>
        </p:spPr>
      </p:pic>
      <p:grpSp>
        <p:nvGrpSpPr>
          <p:cNvPr id="76" name="Grupo 75"/>
          <p:cNvGrpSpPr/>
          <p:nvPr/>
        </p:nvGrpSpPr>
        <p:grpSpPr>
          <a:xfrm>
            <a:off x="-206061" y="5551844"/>
            <a:ext cx="4077449" cy="931811"/>
            <a:chOff x="2400647" y="4666180"/>
            <a:chExt cx="3173785" cy="931811"/>
          </a:xfrm>
        </p:grpSpPr>
        <p:sp>
          <p:nvSpPr>
            <p:cNvPr id="56" name="AutoShape 20"/>
            <p:cNvSpPr>
              <a:spLocks/>
            </p:cNvSpPr>
            <p:nvPr/>
          </p:nvSpPr>
          <p:spPr bwMode="auto">
            <a:xfrm>
              <a:off x="2400647" y="4666180"/>
              <a:ext cx="3166980" cy="381000"/>
            </a:xfrm>
            <a:custGeom>
              <a:avLst/>
              <a:gdLst>
                <a:gd name="T0" fmla="*/ 2514600 w 21600"/>
                <a:gd name="T1" fmla="*/ 381000 h 21600"/>
                <a:gd name="T2" fmla="*/ 2514600 w 21600"/>
                <a:gd name="T3" fmla="*/ 381000 h 21600"/>
                <a:gd name="T4" fmla="*/ 2514600 w 21600"/>
                <a:gd name="T5" fmla="*/ 381000 h 21600"/>
                <a:gd name="T6" fmla="*/ 2514600 w 21600"/>
                <a:gd name="T7" fmla="*/ 38100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5400" tIns="25400" rIns="25400" bIns="25400" anchor="ctr"/>
            <a:lstStyle>
              <a:lvl1pPr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1pPr>
              <a:lvl2pPr marL="742950" indent="-28575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2pPr>
              <a:lvl3pPr marL="11430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3pPr>
              <a:lvl4pPr marL="16002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4pPr>
              <a:lvl5pPr marL="20574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5pPr>
              <a:lvl6pPr marL="25146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6pPr>
              <a:lvl7pPr marL="29718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7pPr>
              <a:lvl8pPr marL="34290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8pPr>
              <a:lvl9pPr marL="38862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9pPr>
            </a:lstStyle>
            <a:p>
              <a:pPr algn="r" eaLnBrk="1"/>
              <a:r>
                <a:rPr lang="en-US" sz="2700" dirty="0">
                  <a:solidFill>
                    <a:schemeClr val="bg2">
                      <a:lumMod val="50000"/>
                    </a:schemeClr>
                  </a:solidFill>
                  <a:latin typeface="Aleo Regular"/>
                  <a:ea typeface="Aleo Regular" charset="0"/>
                  <a:cs typeface="Aleo Regular" charset="0"/>
                  <a:sym typeface="Aleo Regular" charset="0"/>
                </a:rPr>
                <a:t>Salucita Román | CEO</a:t>
              </a:r>
              <a:endParaRPr lang="en-US" sz="2700" dirty="0">
                <a:solidFill>
                  <a:schemeClr val="bg2">
                    <a:lumMod val="50000"/>
                  </a:schemeClr>
                </a:solidFill>
                <a:latin typeface="Aleo Regular"/>
              </a:endParaRPr>
            </a:p>
          </p:txBody>
        </p:sp>
        <p:sp>
          <p:nvSpPr>
            <p:cNvPr id="57" name="AutoShape 20"/>
            <p:cNvSpPr>
              <a:spLocks/>
            </p:cNvSpPr>
            <p:nvPr/>
          </p:nvSpPr>
          <p:spPr bwMode="auto">
            <a:xfrm>
              <a:off x="2568072" y="5216991"/>
              <a:ext cx="3006360" cy="381000"/>
            </a:xfrm>
            <a:custGeom>
              <a:avLst/>
              <a:gdLst>
                <a:gd name="T0" fmla="*/ 2514600 w 21600"/>
                <a:gd name="T1" fmla="*/ 381000 h 21600"/>
                <a:gd name="T2" fmla="*/ 2514600 w 21600"/>
                <a:gd name="T3" fmla="*/ 381000 h 21600"/>
                <a:gd name="T4" fmla="*/ 2514600 w 21600"/>
                <a:gd name="T5" fmla="*/ 381000 h 21600"/>
                <a:gd name="T6" fmla="*/ 2514600 w 21600"/>
                <a:gd name="T7" fmla="*/ 38100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5400" tIns="25400" rIns="25400" bIns="25400" anchor="ctr"/>
            <a:lstStyle>
              <a:lvl1pPr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1pPr>
              <a:lvl2pPr marL="742950" indent="-28575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2pPr>
              <a:lvl3pPr marL="11430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3pPr>
              <a:lvl4pPr marL="16002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4pPr>
              <a:lvl5pPr marL="20574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5pPr>
              <a:lvl6pPr marL="25146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6pPr>
              <a:lvl7pPr marL="29718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7pPr>
              <a:lvl8pPr marL="34290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8pPr>
              <a:lvl9pPr marL="38862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9pPr>
            </a:lstStyle>
            <a:p>
              <a:pPr algn="r" eaLnBrk="1"/>
              <a:r>
                <a:rPr lang="en-US" sz="2700" dirty="0">
                  <a:solidFill>
                    <a:schemeClr val="bg2">
                      <a:lumMod val="50000"/>
                    </a:schemeClr>
                  </a:solidFill>
                  <a:latin typeface="Aleo Regular"/>
                  <a:ea typeface="Aleo Regular" charset="0"/>
                  <a:cs typeface="Aleo Regular" charset="0"/>
                  <a:sym typeface="Aleo Regular" charset="0"/>
                </a:rPr>
                <a:t>José Villanueva | COO</a:t>
              </a:r>
              <a:endParaRPr lang="en-US" sz="2700" dirty="0">
                <a:solidFill>
                  <a:schemeClr val="bg2">
                    <a:lumMod val="50000"/>
                  </a:schemeClr>
                </a:solidFill>
                <a:latin typeface="Aleo Regular"/>
              </a:endParaRPr>
            </a:p>
          </p:txBody>
        </p:sp>
      </p:grpSp>
      <p:grpSp>
        <p:nvGrpSpPr>
          <p:cNvPr id="77" name="Grupo 76"/>
          <p:cNvGrpSpPr/>
          <p:nvPr/>
        </p:nvGrpSpPr>
        <p:grpSpPr>
          <a:xfrm>
            <a:off x="5776554" y="5493450"/>
            <a:ext cx="6046251" cy="998324"/>
            <a:chOff x="1262954" y="4484232"/>
            <a:chExt cx="4961898" cy="969505"/>
          </a:xfrm>
        </p:grpSpPr>
        <p:sp>
          <p:nvSpPr>
            <p:cNvPr id="78" name="AutoShape 20"/>
            <p:cNvSpPr>
              <a:spLocks/>
            </p:cNvSpPr>
            <p:nvPr/>
          </p:nvSpPr>
          <p:spPr bwMode="auto">
            <a:xfrm>
              <a:off x="1262954" y="4484232"/>
              <a:ext cx="4961898" cy="381000"/>
            </a:xfrm>
            <a:custGeom>
              <a:avLst/>
              <a:gdLst>
                <a:gd name="T0" fmla="*/ 2514600 w 21600"/>
                <a:gd name="T1" fmla="*/ 381000 h 21600"/>
                <a:gd name="T2" fmla="*/ 2514600 w 21600"/>
                <a:gd name="T3" fmla="*/ 381000 h 21600"/>
                <a:gd name="T4" fmla="*/ 2514600 w 21600"/>
                <a:gd name="T5" fmla="*/ 381000 h 21600"/>
                <a:gd name="T6" fmla="*/ 2514600 w 21600"/>
                <a:gd name="T7" fmla="*/ 38100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5400" tIns="25400" rIns="25400" bIns="25400" anchor="ctr"/>
            <a:lstStyle>
              <a:lvl1pPr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1pPr>
              <a:lvl2pPr marL="742950" indent="-28575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2pPr>
              <a:lvl3pPr marL="11430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3pPr>
              <a:lvl4pPr marL="16002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4pPr>
              <a:lvl5pPr marL="20574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5pPr>
              <a:lvl6pPr marL="25146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6pPr>
              <a:lvl7pPr marL="29718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7pPr>
              <a:lvl8pPr marL="34290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8pPr>
              <a:lvl9pPr marL="38862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9pPr>
            </a:lstStyle>
            <a:p>
              <a:pPr algn="r" eaLnBrk="1"/>
              <a:r>
                <a:rPr lang="en-US" sz="2700" dirty="0" err="1">
                  <a:solidFill>
                    <a:schemeClr val="bg2">
                      <a:lumMod val="50000"/>
                    </a:schemeClr>
                  </a:solidFill>
                  <a:latin typeface="Aleo Regular"/>
                  <a:ea typeface="Aleo Regular" charset="0"/>
                  <a:cs typeface="Aleo Regular" charset="0"/>
                  <a:sym typeface="Aleo Regular" charset="0"/>
                </a:rPr>
                <a:t>Ing</a:t>
              </a:r>
              <a:r>
                <a:rPr lang="en-US" sz="2700" dirty="0">
                  <a:solidFill>
                    <a:schemeClr val="bg2">
                      <a:lumMod val="50000"/>
                    </a:schemeClr>
                  </a:solidFill>
                  <a:latin typeface="Aleo Regular"/>
                  <a:ea typeface="Aleo Regular" charset="0"/>
                  <a:cs typeface="Aleo Regular" charset="0"/>
                  <a:sym typeface="Aleo Regular" charset="0"/>
                </a:rPr>
                <a:t>. Francisco A. Lopez | Mentor</a:t>
              </a:r>
              <a:endParaRPr lang="en-US" sz="2700" dirty="0">
                <a:solidFill>
                  <a:schemeClr val="bg2">
                    <a:lumMod val="50000"/>
                  </a:schemeClr>
                </a:solidFill>
                <a:latin typeface="Aleo Regular"/>
              </a:endParaRPr>
            </a:p>
          </p:txBody>
        </p:sp>
        <p:sp>
          <p:nvSpPr>
            <p:cNvPr id="79" name="AutoShape 20"/>
            <p:cNvSpPr>
              <a:spLocks/>
            </p:cNvSpPr>
            <p:nvPr/>
          </p:nvSpPr>
          <p:spPr bwMode="auto">
            <a:xfrm>
              <a:off x="1563364" y="5072737"/>
              <a:ext cx="3750377" cy="381000"/>
            </a:xfrm>
            <a:custGeom>
              <a:avLst/>
              <a:gdLst>
                <a:gd name="T0" fmla="*/ 2514600 w 21600"/>
                <a:gd name="T1" fmla="*/ 381000 h 21600"/>
                <a:gd name="T2" fmla="*/ 2514600 w 21600"/>
                <a:gd name="T3" fmla="*/ 381000 h 21600"/>
                <a:gd name="T4" fmla="*/ 2514600 w 21600"/>
                <a:gd name="T5" fmla="*/ 381000 h 21600"/>
                <a:gd name="T6" fmla="*/ 2514600 w 21600"/>
                <a:gd name="T7" fmla="*/ 38100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5400" tIns="25400" rIns="25400" bIns="25400" anchor="ctr"/>
            <a:lstStyle>
              <a:lvl1pPr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1pPr>
              <a:lvl2pPr marL="742950" indent="-28575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2pPr>
              <a:lvl3pPr marL="11430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3pPr>
              <a:lvl4pPr marL="16002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4pPr>
              <a:lvl5pPr marL="20574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5pPr>
              <a:lvl6pPr marL="25146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6pPr>
              <a:lvl7pPr marL="29718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7pPr>
              <a:lvl8pPr marL="34290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8pPr>
              <a:lvl9pPr marL="38862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9pPr>
            </a:lstStyle>
            <a:p>
              <a:pPr algn="r" eaLnBrk="1"/>
              <a:r>
                <a:rPr lang="en-US" sz="2700" dirty="0" err="1">
                  <a:solidFill>
                    <a:schemeClr val="bg2">
                      <a:lumMod val="50000"/>
                    </a:schemeClr>
                  </a:solidFill>
                  <a:latin typeface="Aleo Regular"/>
                  <a:ea typeface="Aleo Regular" charset="0"/>
                  <a:cs typeface="Aleo Regular" charset="0"/>
                  <a:sym typeface="Aleo Regular" charset="0"/>
                </a:rPr>
                <a:t>Lic</a:t>
              </a:r>
              <a:r>
                <a:rPr lang="en-US" sz="2700" dirty="0">
                  <a:solidFill>
                    <a:schemeClr val="bg2">
                      <a:lumMod val="50000"/>
                    </a:schemeClr>
                  </a:solidFill>
                  <a:latin typeface="Aleo Regular"/>
                  <a:ea typeface="Aleo Regular" charset="0"/>
                  <a:cs typeface="Aleo Regular" charset="0"/>
                  <a:sym typeface="Aleo Regular" charset="0"/>
                </a:rPr>
                <a:t>. Tulia Castillo | Couch</a:t>
              </a:r>
              <a:endParaRPr lang="en-US" sz="2700" dirty="0">
                <a:solidFill>
                  <a:schemeClr val="bg2">
                    <a:lumMod val="50000"/>
                  </a:schemeClr>
                </a:solidFill>
                <a:latin typeface="Aleo Regular"/>
              </a:endParaRPr>
            </a:p>
          </p:txBody>
        </p:sp>
      </p:grpSp>
      <p:pic>
        <p:nvPicPr>
          <p:cNvPr id="2050" name="Picture 2" descr="http://ingenioemprendedor.mx/img/log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072" y="213892"/>
            <a:ext cx="3400023" cy="12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995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uadroTexto 11"/>
          <p:cNvSpPr txBox="1"/>
          <p:nvPr/>
        </p:nvSpPr>
        <p:spPr>
          <a:xfrm>
            <a:off x="3150406" y="1369093"/>
            <a:ext cx="5891189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ES" dirty="0">
              <a:solidFill>
                <a:schemeClr val="accent1"/>
              </a:solidFill>
            </a:endParaRPr>
          </a:p>
          <a:p>
            <a:endParaRPr lang="es-ES" dirty="0">
              <a:solidFill>
                <a:schemeClr val="accent1"/>
              </a:solidFill>
            </a:endParaRPr>
          </a:p>
          <a:p>
            <a:r>
              <a:rPr lang="es-ES" dirty="0">
                <a:solidFill>
                  <a:schemeClr val="accent1"/>
                </a:solidFill>
              </a:rPr>
              <a:t> </a:t>
            </a:r>
            <a:r>
              <a:rPr lang="es-ES" dirty="0">
                <a:solidFill>
                  <a:srgbClr val="00B0F0"/>
                </a:solidFill>
                <a:latin typeface="Aleo Regular"/>
              </a:rPr>
              <a:t>Capital necesario para 6 meses y en que se invertirá: </a:t>
            </a:r>
          </a:p>
          <a:p>
            <a:endParaRPr lang="es-ES" dirty="0">
              <a:solidFill>
                <a:schemeClr val="accent1"/>
              </a:solidFill>
              <a:latin typeface="Aleo Regular"/>
            </a:endParaRPr>
          </a:p>
          <a:p>
            <a:pPr algn="ctr"/>
            <a:r>
              <a:rPr lang="es-ES" b="1" dirty="0">
                <a:latin typeface="Aleo Regular"/>
              </a:rPr>
              <a:t>$</a:t>
            </a:r>
            <a:r>
              <a:rPr lang="es-ES" dirty="0">
                <a:latin typeface="Aleo Regular"/>
              </a:rPr>
              <a:t>946.255</a:t>
            </a:r>
            <a:r>
              <a:rPr lang="es-ES" b="1" dirty="0">
                <a:latin typeface="Aleo Regular"/>
              </a:rPr>
              <a:t> prototipo final</a:t>
            </a:r>
          </a:p>
          <a:p>
            <a:endParaRPr lang="es-ES" dirty="0">
              <a:latin typeface="Aleo Regular"/>
            </a:endParaRPr>
          </a:p>
          <a:p>
            <a:r>
              <a:rPr lang="es-ES" dirty="0">
                <a:solidFill>
                  <a:srgbClr val="00B0F0"/>
                </a:solidFill>
                <a:latin typeface="Aleo Regular"/>
              </a:rPr>
              <a:t>Investigación y desarrollo 45% :</a:t>
            </a:r>
          </a:p>
          <a:p>
            <a:pPr marL="342900" indent="-342900">
              <a:buFont typeface="+mj-lt"/>
              <a:buAutoNum type="arabicPeriod"/>
            </a:pPr>
            <a:r>
              <a:rPr lang="es-ES" dirty="0">
                <a:latin typeface="Aleo Regular"/>
              </a:rPr>
              <a:t>Desarrollo del material conductor 5%</a:t>
            </a:r>
          </a:p>
          <a:p>
            <a:pPr marL="342900" indent="-342900">
              <a:buFont typeface="+mj-lt"/>
              <a:buAutoNum type="arabicPeriod"/>
            </a:pPr>
            <a:r>
              <a:rPr lang="es-ES" dirty="0">
                <a:latin typeface="Aleo Regular"/>
              </a:rPr>
              <a:t>Pruebas de laboratorios 30% </a:t>
            </a:r>
          </a:p>
          <a:p>
            <a:pPr marL="342900" indent="-342900">
              <a:buFont typeface="+mj-lt"/>
              <a:buAutoNum type="arabicPeriod"/>
            </a:pPr>
            <a:r>
              <a:rPr lang="es-ES" dirty="0">
                <a:latin typeface="Aleo Regular"/>
              </a:rPr>
              <a:t>Diseño de procesos 10%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dirty="0">
              <a:latin typeface="Aleo Regular"/>
            </a:endParaRPr>
          </a:p>
          <a:p>
            <a:r>
              <a:rPr lang="es-ES" dirty="0">
                <a:solidFill>
                  <a:srgbClr val="00B0F0"/>
                </a:solidFill>
                <a:latin typeface="Aleo Regular"/>
              </a:rPr>
              <a:t>Gastos Administrativos y Sueldos 35%:</a:t>
            </a:r>
          </a:p>
          <a:p>
            <a:pPr marL="342900" indent="-342900">
              <a:buFont typeface="+mj-lt"/>
              <a:buAutoNum type="arabicPeriod"/>
            </a:pPr>
            <a:r>
              <a:rPr lang="es-ES" dirty="0">
                <a:latin typeface="Aleo Regular"/>
              </a:rPr>
              <a:t>Sueldo 25% </a:t>
            </a:r>
          </a:p>
          <a:p>
            <a:pPr marL="342900" indent="-342900">
              <a:buFont typeface="+mj-lt"/>
              <a:buAutoNum type="arabicPeriod"/>
            </a:pPr>
            <a:r>
              <a:rPr lang="es-ES" dirty="0">
                <a:latin typeface="Aleo Regular"/>
              </a:rPr>
              <a:t>Viáticos 15% </a:t>
            </a:r>
          </a:p>
          <a:p>
            <a:endParaRPr lang="es-ES" dirty="0">
              <a:latin typeface="Aleo Regular"/>
            </a:endParaRPr>
          </a:p>
          <a:p>
            <a:endParaRPr lang="es-ES" dirty="0"/>
          </a:p>
          <a:p>
            <a:r>
              <a:rPr lang="es-ES" dirty="0"/>
              <a:t>	</a:t>
            </a:r>
          </a:p>
        </p:txBody>
      </p:sp>
      <p:sp>
        <p:nvSpPr>
          <p:cNvPr id="13" name="Rectángulo 12"/>
          <p:cNvSpPr/>
          <p:nvPr/>
        </p:nvSpPr>
        <p:spPr>
          <a:xfrm>
            <a:off x="2768960" y="476827"/>
            <a:ext cx="714876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2800" b="1" dirty="0" smtClean="0">
                <a:latin typeface="Aleo Regular"/>
                <a:sym typeface="Aleo Regular" charset="0"/>
              </a:rPr>
              <a:t>Capital </a:t>
            </a:r>
            <a:r>
              <a:rPr lang="es-MX" sz="2800" b="1" dirty="0" smtClean="0">
                <a:solidFill>
                  <a:srgbClr val="00B0F0"/>
                </a:solidFill>
                <a:latin typeface="Aleo Regular"/>
                <a:sym typeface="Aleo Regular" charset="0"/>
              </a:rPr>
              <a:t>requerido</a:t>
            </a:r>
            <a:endParaRPr lang="es-MX" sz="2800" dirty="0">
              <a:solidFill>
                <a:srgbClr val="00B0F0"/>
              </a:solidFill>
              <a:latin typeface="Aleo Regular"/>
            </a:endParaRPr>
          </a:p>
        </p:txBody>
      </p:sp>
      <p:cxnSp>
        <p:nvCxnSpPr>
          <p:cNvPr id="14" name="Straight Connector 5"/>
          <p:cNvCxnSpPr/>
          <p:nvPr/>
        </p:nvCxnSpPr>
        <p:spPr>
          <a:xfrm>
            <a:off x="4669036" y="1122756"/>
            <a:ext cx="330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2555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4572007" y="657965"/>
            <a:ext cx="368573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2800" b="1" dirty="0" smtClean="0">
                <a:latin typeface="Aleo Regular"/>
                <a:sym typeface="Aleo Regular" charset="0"/>
              </a:rPr>
              <a:t>Status </a:t>
            </a:r>
            <a:r>
              <a:rPr lang="es-MX" sz="2800" b="1" dirty="0" smtClean="0">
                <a:solidFill>
                  <a:srgbClr val="00B0F0"/>
                </a:solidFill>
                <a:latin typeface="Aleo Regular"/>
                <a:sym typeface="Aleo Regular" charset="0"/>
              </a:rPr>
              <a:t>del proyecto</a:t>
            </a:r>
            <a:endParaRPr lang="es-MX" sz="2800" dirty="0">
              <a:solidFill>
                <a:srgbClr val="00B0F0"/>
              </a:solidFill>
              <a:latin typeface="Aleo Regular"/>
            </a:endParaRPr>
          </a:p>
        </p:txBody>
      </p:sp>
      <p:pic>
        <p:nvPicPr>
          <p:cNvPr id="1028" name="Picture 4" descr="http://www.viakable.com/images/logo-60e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6568" y="5382995"/>
            <a:ext cx="2338417" cy="706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www.danfree.com.mx/img/clientes/prettl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1382" y="3735065"/>
            <a:ext cx="2703416" cy="458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180" y="397459"/>
            <a:ext cx="2026831" cy="1256802"/>
          </a:xfrm>
          <a:prstGeom prst="rect">
            <a:avLst/>
          </a:prstGeom>
        </p:spPr>
      </p:pic>
      <p:sp>
        <p:nvSpPr>
          <p:cNvPr id="7" name="CuadroTexto 6"/>
          <p:cNvSpPr txBox="1"/>
          <p:nvPr/>
        </p:nvSpPr>
        <p:spPr>
          <a:xfrm>
            <a:off x="666221" y="2322350"/>
            <a:ext cx="2673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 smtClean="0">
                <a:solidFill>
                  <a:schemeClr val="bg2">
                    <a:lumMod val="50000"/>
                  </a:schemeClr>
                </a:solidFill>
                <a:latin typeface="Aleo Regular"/>
              </a:rPr>
              <a:t>Aliados estratégicos</a:t>
            </a:r>
            <a:endParaRPr lang="es-MX" dirty="0">
              <a:solidFill>
                <a:schemeClr val="bg2">
                  <a:lumMod val="50000"/>
                </a:schemeClr>
              </a:solidFill>
              <a:latin typeface="Aleo Regular"/>
            </a:endParaRPr>
          </a:p>
        </p:txBody>
      </p:sp>
      <p:sp>
        <p:nvSpPr>
          <p:cNvPr id="10" name="CuadroTexto 9"/>
          <p:cNvSpPr txBox="1"/>
          <p:nvPr/>
        </p:nvSpPr>
        <p:spPr>
          <a:xfrm>
            <a:off x="432820" y="4790513"/>
            <a:ext cx="2673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dirty="0" smtClean="0">
                <a:solidFill>
                  <a:schemeClr val="bg2">
                    <a:lumMod val="50000"/>
                  </a:schemeClr>
                </a:solidFill>
                <a:latin typeface="Aleo Regular"/>
              </a:rPr>
              <a:t>Incubadora.</a:t>
            </a:r>
            <a:endParaRPr lang="es-MX" dirty="0">
              <a:solidFill>
                <a:schemeClr val="bg2">
                  <a:lumMod val="50000"/>
                </a:schemeClr>
              </a:solidFill>
              <a:latin typeface="Aleo Regular"/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9485082" y="1709032"/>
            <a:ext cx="26736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 smtClean="0">
                <a:solidFill>
                  <a:schemeClr val="bg2">
                    <a:lumMod val="50000"/>
                  </a:schemeClr>
                </a:solidFill>
                <a:latin typeface="Aleo Regular"/>
              </a:rPr>
              <a:t>Conversaciones con</a:t>
            </a:r>
          </a:p>
          <a:p>
            <a:r>
              <a:rPr lang="es-MX" dirty="0" smtClean="0">
                <a:solidFill>
                  <a:schemeClr val="bg2">
                    <a:lumMod val="50000"/>
                  </a:schemeClr>
                </a:solidFill>
                <a:latin typeface="Aleo Regular"/>
              </a:rPr>
              <a:t>Incubadora internacional</a:t>
            </a:r>
            <a:endParaRPr lang="es-MX" dirty="0">
              <a:solidFill>
                <a:schemeClr val="bg2">
                  <a:lumMod val="50000"/>
                </a:schemeClr>
              </a:solidFill>
              <a:latin typeface="Aleo Regular"/>
            </a:endParaRPr>
          </a:p>
        </p:txBody>
      </p:sp>
      <p:sp>
        <p:nvSpPr>
          <p:cNvPr id="12" name="CuadroTexto 11"/>
          <p:cNvSpPr txBox="1"/>
          <p:nvPr/>
        </p:nvSpPr>
        <p:spPr>
          <a:xfrm>
            <a:off x="9437715" y="3207535"/>
            <a:ext cx="26736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 smtClean="0">
                <a:solidFill>
                  <a:schemeClr val="bg2">
                    <a:lumMod val="50000"/>
                  </a:schemeClr>
                </a:solidFill>
                <a:latin typeface="Aleo Regular"/>
              </a:rPr>
              <a:t>Empresa Alemana, validación </a:t>
            </a:r>
            <a:r>
              <a:rPr lang="es-MX" dirty="0" smtClean="0">
                <a:solidFill>
                  <a:schemeClr val="bg2">
                    <a:lumMod val="50000"/>
                  </a:schemeClr>
                </a:solidFill>
                <a:latin typeface="Aleo Regular"/>
              </a:rPr>
              <a:t>de mercado y</a:t>
            </a:r>
          </a:p>
          <a:p>
            <a:r>
              <a:rPr lang="es-MX" dirty="0" smtClean="0">
                <a:solidFill>
                  <a:schemeClr val="bg2">
                    <a:lumMod val="50000"/>
                  </a:schemeClr>
                </a:solidFill>
                <a:latin typeface="Aleo Regular"/>
              </a:rPr>
              <a:t>Conversaciones con empresas interesadas en el </a:t>
            </a:r>
            <a:r>
              <a:rPr lang="es-MX" dirty="0" smtClean="0">
                <a:solidFill>
                  <a:schemeClr val="bg2">
                    <a:lumMod val="50000"/>
                  </a:schemeClr>
                </a:solidFill>
                <a:latin typeface="Aleo Regular"/>
              </a:rPr>
              <a:t>proyecto.</a:t>
            </a:r>
            <a:endParaRPr lang="es-MX" dirty="0">
              <a:solidFill>
                <a:schemeClr val="bg2">
                  <a:lumMod val="50000"/>
                </a:schemeClr>
              </a:solidFill>
              <a:latin typeface="Aleo Regular"/>
            </a:endParaRPr>
          </a:p>
        </p:txBody>
      </p:sp>
      <p:cxnSp>
        <p:nvCxnSpPr>
          <p:cNvPr id="9" name="Conector recto 8"/>
          <p:cNvCxnSpPr/>
          <p:nvPr/>
        </p:nvCxnSpPr>
        <p:spPr>
          <a:xfrm>
            <a:off x="9437715" y="1510036"/>
            <a:ext cx="0" cy="11223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/>
          <p:cNvCxnSpPr/>
          <p:nvPr/>
        </p:nvCxnSpPr>
        <p:spPr>
          <a:xfrm>
            <a:off x="3149377" y="2242974"/>
            <a:ext cx="0" cy="35223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cto 16"/>
          <p:cNvCxnSpPr/>
          <p:nvPr/>
        </p:nvCxnSpPr>
        <p:spPr>
          <a:xfrm>
            <a:off x="522203" y="2242974"/>
            <a:ext cx="0" cy="35223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4" name="Picture 2" descr="http://static.wixstatic.com/media/df08e0_7a0f44b4062b4241802b25b6ae2dfe07.png_srz_338_122_85_22_0.50_1.20_0.00_png_srz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8282" y="1574974"/>
            <a:ext cx="2929484" cy="1057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http://www.startupnations.org/wp-content/uploads/2015/09/ilab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237" y="2968681"/>
            <a:ext cx="2100831" cy="1623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" name="Straight Connector 5"/>
          <p:cNvCxnSpPr/>
          <p:nvPr/>
        </p:nvCxnSpPr>
        <p:spPr>
          <a:xfrm>
            <a:off x="4147275" y="1184542"/>
            <a:ext cx="4394962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18"/>
          <p:cNvCxnSpPr/>
          <p:nvPr/>
        </p:nvCxnSpPr>
        <p:spPr>
          <a:xfrm>
            <a:off x="9422691" y="3246537"/>
            <a:ext cx="0" cy="11223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9"/>
          <p:cNvCxnSpPr/>
          <p:nvPr/>
        </p:nvCxnSpPr>
        <p:spPr>
          <a:xfrm>
            <a:off x="9422688" y="5281405"/>
            <a:ext cx="0" cy="11223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/>
          <p:cNvCxnSpPr/>
          <p:nvPr/>
        </p:nvCxnSpPr>
        <p:spPr>
          <a:xfrm>
            <a:off x="5847008" y="1854558"/>
            <a:ext cx="7759" cy="436593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uadroTexto 24"/>
          <p:cNvSpPr txBox="1"/>
          <p:nvPr/>
        </p:nvSpPr>
        <p:spPr>
          <a:xfrm>
            <a:off x="3387252" y="1886533"/>
            <a:ext cx="2673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 smtClean="0">
                <a:solidFill>
                  <a:schemeClr val="bg2">
                    <a:lumMod val="50000"/>
                  </a:schemeClr>
                </a:solidFill>
                <a:latin typeface="Aleo Regular"/>
              </a:rPr>
              <a:t>Alcance Internacional</a:t>
            </a:r>
            <a:endParaRPr lang="es-MX" dirty="0">
              <a:solidFill>
                <a:schemeClr val="bg2">
                  <a:lumMod val="50000"/>
                </a:schemeClr>
              </a:solidFill>
              <a:latin typeface="Aleo Regular"/>
            </a:endParaRPr>
          </a:p>
        </p:txBody>
      </p:sp>
      <p:sp>
        <p:nvSpPr>
          <p:cNvPr id="27" name="CuadroTexto 26"/>
          <p:cNvSpPr txBox="1"/>
          <p:nvPr/>
        </p:nvSpPr>
        <p:spPr>
          <a:xfrm>
            <a:off x="3796770" y="5739564"/>
            <a:ext cx="2673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 smtClean="0">
                <a:solidFill>
                  <a:schemeClr val="bg2">
                    <a:lumMod val="50000"/>
                  </a:schemeClr>
                </a:solidFill>
                <a:latin typeface="Aleo Regular"/>
              </a:rPr>
              <a:t>Alcance Nacional</a:t>
            </a:r>
            <a:endParaRPr lang="es-MX" dirty="0">
              <a:solidFill>
                <a:schemeClr val="bg2">
                  <a:lumMod val="50000"/>
                </a:schemeClr>
              </a:solidFill>
              <a:latin typeface="Aleo Regular"/>
            </a:endParaRPr>
          </a:p>
        </p:txBody>
      </p:sp>
      <p:sp>
        <p:nvSpPr>
          <p:cNvPr id="28" name="CuadroTexto 27"/>
          <p:cNvSpPr txBox="1"/>
          <p:nvPr/>
        </p:nvSpPr>
        <p:spPr>
          <a:xfrm>
            <a:off x="3385104" y="3738941"/>
            <a:ext cx="2673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 smtClean="0">
                <a:solidFill>
                  <a:schemeClr val="bg2">
                    <a:lumMod val="50000"/>
                  </a:schemeClr>
                </a:solidFill>
                <a:latin typeface="Aleo Regular"/>
              </a:rPr>
              <a:t>Alcance Internacional</a:t>
            </a:r>
            <a:endParaRPr lang="es-MX" dirty="0">
              <a:solidFill>
                <a:schemeClr val="bg2">
                  <a:lumMod val="50000"/>
                </a:schemeClr>
              </a:solidFill>
              <a:latin typeface="Aleo Regular"/>
            </a:endParaRPr>
          </a:p>
        </p:txBody>
      </p:sp>
      <p:sp>
        <p:nvSpPr>
          <p:cNvPr id="29" name="CuadroTexto 28"/>
          <p:cNvSpPr txBox="1"/>
          <p:nvPr/>
        </p:nvSpPr>
        <p:spPr>
          <a:xfrm>
            <a:off x="9590115" y="5047067"/>
            <a:ext cx="267366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 smtClean="0">
                <a:solidFill>
                  <a:schemeClr val="bg2">
                    <a:lumMod val="50000"/>
                  </a:schemeClr>
                </a:solidFill>
                <a:latin typeface="Aleo Regular"/>
              </a:rPr>
              <a:t>Empresa Mexicana con alcance internacional, validación </a:t>
            </a:r>
            <a:r>
              <a:rPr lang="es-MX" dirty="0" smtClean="0">
                <a:solidFill>
                  <a:schemeClr val="bg2">
                    <a:lumMod val="50000"/>
                  </a:schemeClr>
                </a:solidFill>
                <a:latin typeface="Aleo Regular"/>
              </a:rPr>
              <a:t>de mercado y</a:t>
            </a:r>
          </a:p>
          <a:p>
            <a:r>
              <a:rPr lang="es-MX" dirty="0" smtClean="0">
                <a:solidFill>
                  <a:schemeClr val="bg2">
                    <a:lumMod val="50000"/>
                  </a:schemeClr>
                </a:solidFill>
                <a:latin typeface="Aleo Regular"/>
              </a:rPr>
              <a:t>Conversaciones con empresas interesadas en el </a:t>
            </a:r>
            <a:r>
              <a:rPr lang="es-MX" dirty="0" smtClean="0">
                <a:solidFill>
                  <a:schemeClr val="bg2">
                    <a:lumMod val="50000"/>
                  </a:schemeClr>
                </a:solidFill>
                <a:latin typeface="Aleo Regular"/>
              </a:rPr>
              <a:t>proyecto.</a:t>
            </a:r>
            <a:endParaRPr lang="es-MX" dirty="0">
              <a:solidFill>
                <a:schemeClr val="bg2">
                  <a:lumMod val="50000"/>
                </a:schemeClr>
              </a:solidFill>
              <a:latin typeface="Aleo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5904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178"/>
          <p:cNvSpPr txBox="1">
            <a:spLocks/>
          </p:cNvSpPr>
          <p:nvPr/>
        </p:nvSpPr>
        <p:spPr>
          <a:xfrm>
            <a:off x="0" y="0"/>
            <a:ext cx="12192000" cy="4248444"/>
          </a:xfrm>
          <a:prstGeom prst="rect">
            <a:avLst/>
          </a:prstGeom>
          <a:solidFill>
            <a:srgbClr val="33CCFF">
              <a:alpha val="73330"/>
            </a:srgbClr>
          </a:solidFill>
        </p:spPr>
        <p:txBody>
          <a:bodyPr vert="horz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Elipse 2"/>
          <p:cNvSpPr/>
          <p:nvPr/>
        </p:nvSpPr>
        <p:spPr>
          <a:xfrm>
            <a:off x="3114760" y="849922"/>
            <a:ext cx="2110154" cy="2230902"/>
          </a:xfrm>
          <a:prstGeom prst="ellipse">
            <a:avLst/>
          </a:pr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" name="Elipse 3"/>
          <p:cNvSpPr/>
          <p:nvPr/>
        </p:nvSpPr>
        <p:spPr>
          <a:xfrm>
            <a:off x="7523871" y="849922"/>
            <a:ext cx="2070296" cy="2124222"/>
          </a:xfrm>
          <a:prstGeom prst="ellipse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5" name="Rectángulo 4"/>
          <p:cNvSpPr/>
          <p:nvPr/>
        </p:nvSpPr>
        <p:spPr>
          <a:xfrm>
            <a:off x="7423099" y="3188091"/>
            <a:ext cx="227184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noProof="1">
                <a:solidFill>
                  <a:srgbClr val="00B0F0"/>
                </a:solidFill>
              </a:rPr>
              <a:t> </a:t>
            </a:r>
            <a:r>
              <a:rPr lang="es-ES" noProof="1">
                <a:solidFill>
                  <a:schemeClr val="bg1"/>
                </a:solidFill>
              </a:rPr>
              <a:t>Salucita Román | </a:t>
            </a:r>
            <a:r>
              <a:rPr lang="es-ES" noProof="1" smtClean="0">
                <a:solidFill>
                  <a:schemeClr val="bg1"/>
                </a:solidFill>
              </a:rPr>
              <a:t>CEO</a:t>
            </a:r>
          </a:p>
          <a:p>
            <a:pPr algn="ctr"/>
            <a:r>
              <a:rPr lang="es-ES" noProof="1" smtClean="0">
                <a:solidFill>
                  <a:schemeClr val="bg1"/>
                </a:solidFill>
              </a:rPr>
              <a:t>Ing. Bioquímica</a:t>
            </a:r>
            <a:endParaRPr lang="es-MX" dirty="0">
              <a:solidFill>
                <a:schemeClr val="bg1"/>
              </a:solidFill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2926080" y="3265854"/>
            <a:ext cx="229883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noProof="1">
                <a:solidFill>
                  <a:schemeClr val="bg1"/>
                </a:solidFill>
              </a:rPr>
              <a:t> José Villanueva | </a:t>
            </a:r>
            <a:r>
              <a:rPr lang="es-ES" noProof="1" smtClean="0">
                <a:solidFill>
                  <a:schemeClr val="bg1"/>
                </a:solidFill>
              </a:rPr>
              <a:t>COO</a:t>
            </a:r>
          </a:p>
          <a:p>
            <a:pPr algn="ctr"/>
            <a:r>
              <a:rPr lang="es-ES" noProof="1" smtClean="0">
                <a:solidFill>
                  <a:schemeClr val="bg1"/>
                </a:solidFill>
              </a:rPr>
              <a:t>Ing Bioquímico</a:t>
            </a:r>
            <a:endParaRPr lang="es-ES" noProof="1">
              <a:solidFill>
                <a:schemeClr val="bg1"/>
              </a:solidFill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612325" y="4433474"/>
            <a:ext cx="2840060" cy="630303"/>
            <a:chOff x="4824966" y="1496447"/>
            <a:chExt cx="2840060" cy="630303"/>
          </a:xfrm>
        </p:grpSpPr>
        <p:sp>
          <p:nvSpPr>
            <p:cNvPr id="8" name="AutoShape 4"/>
            <p:cNvSpPr>
              <a:spLocks/>
            </p:cNvSpPr>
            <p:nvPr/>
          </p:nvSpPr>
          <p:spPr bwMode="auto">
            <a:xfrm>
              <a:off x="5552319" y="1886662"/>
              <a:ext cx="2112707" cy="216745"/>
            </a:xfrm>
            <a:custGeom>
              <a:avLst/>
              <a:gdLst>
                <a:gd name="T0" fmla="*/ 1112044 w 21600"/>
                <a:gd name="T1" fmla="*/ 330200 h 21600"/>
                <a:gd name="T2" fmla="*/ 1112044 w 21600"/>
                <a:gd name="T3" fmla="*/ 330200 h 21600"/>
                <a:gd name="T4" fmla="*/ 1112044 w 21600"/>
                <a:gd name="T5" fmla="*/ 330200 h 21600"/>
                <a:gd name="T6" fmla="*/ 1112044 w 21600"/>
                <a:gd name="T7" fmla="*/ 33020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599"/>
                  </a:lnTo>
                  <a:lnTo>
                    <a:pt x="0" y="2159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rgbClr val="000000"/>
                  </a:solidFill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5400" tIns="25400" rIns="25400" bIns="25400" anchor="ctr"/>
            <a:lstStyle>
              <a:lvl1pPr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1pPr>
              <a:lvl2pPr marL="742950" indent="-28575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2pPr>
              <a:lvl3pPr marL="11430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3pPr>
              <a:lvl4pPr marL="16002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4pPr>
              <a:lvl5pPr marL="20574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5pPr>
              <a:lvl6pPr marL="25146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6pPr>
              <a:lvl7pPr marL="29718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7pPr>
              <a:lvl8pPr marL="34290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8pPr>
              <a:lvl9pPr marL="38862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9pPr>
            </a:lstStyle>
            <a:p>
              <a:pPr algn="l" eaLnBrk="1"/>
              <a:r>
                <a:rPr lang="en-US" sz="1400" dirty="0" smtClean="0">
                  <a:solidFill>
                    <a:srgbClr val="00B0F0"/>
                  </a:solidFill>
                  <a:latin typeface="Lato Light" panose="020F0302020204030203" pitchFamily="34" charset="0"/>
                  <a:sym typeface="Lato Light" panose="020F0302020204030203" pitchFamily="34" charset="0"/>
                </a:rPr>
                <a:t>Salucita Román</a:t>
              </a:r>
              <a:endParaRPr lang="en-US" sz="1400" dirty="0">
                <a:solidFill>
                  <a:srgbClr val="00B0F0"/>
                </a:solidFill>
              </a:endParaRPr>
            </a:p>
          </p:txBody>
        </p:sp>
        <p:grpSp>
          <p:nvGrpSpPr>
            <p:cNvPr id="9" name="Grupo 8"/>
            <p:cNvGrpSpPr/>
            <p:nvPr/>
          </p:nvGrpSpPr>
          <p:grpSpPr>
            <a:xfrm>
              <a:off x="4824966" y="1496447"/>
              <a:ext cx="572913" cy="630303"/>
              <a:chOff x="7914482" y="1778000"/>
              <a:chExt cx="692944" cy="800100"/>
            </a:xfrm>
          </p:grpSpPr>
          <p:sp>
            <p:nvSpPr>
              <p:cNvPr id="11" name="AutoShape 17"/>
              <p:cNvSpPr>
                <a:spLocks/>
              </p:cNvSpPr>
              <p:nvPr/>
            </p:nvSpPr>
            <p:spPr bwMode="auto">
              <a:xfrm>
                <a:off x="7914482" y="1778000"/>
                <a:ext cx="692944" cy="80010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0"/>
                    </a:moveTo>
                    <a:lnTo>
                      <a:pt x="21600" y="5400"/>
                    </a:lnTo>
                    <a:lnTo>
                      <a:pt x="21599" y="16200"/>
                    </a:lnTo>
                    <a:lnTo>
                      <a:pt x="10799" y="21599"/>
                    </a:lnTo>
                    <a:lnTo>
                      <a:pt x="0" y="16199"/>
                    </a:lnTo>
                    <a:lnTo>
                      <a:pt x="0" y="5400"/>
                    </a:lnTo>
                    <a:close/>
                  </a:path>
                </a:pathLst>
              </a:custGeom>
              <a:solidFill>
                <a:srgbClr val="7B3B65"/>
              </a:solidFill>
              <a:ln>
                <a:noFill/>
              </a:ln>
              <a:effectLst/>
              <a:extLst/>
            </p:spPr>
            <p:txBody>
              <a:bodyPr lIns="0" tIns="0" rIns="0" bIns="0" anchor="ctr"/>
              <a:lstStyle>
                <a:lvl1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1pPr>
                <a:lvl2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2pPr>
                <a:lvl3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3pPr>
                <a:lvl4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4pPr>
                <a:lvl5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5pPr>
                <a:lvl6pPr marL="18288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6pPr>
                <a:lvl7pPr marL="22860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7pPr>
                <a:lvl8pPr marL="27432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8pPr>
                <a:lvl9pPr marL="32004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9pPr>
              </a:lstStyle>
              <a:p>
                <a:pPr algn="ctr" eaLnBrk="1">
                  <a:defRPr/>
                </a:pPr>
                <a:endParaRPr lang="en-US" sz="140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endParaRPr>
              </a:p>
            </p:txBody>
          </p:sp>
          <p:sp>
            <p:nvSpPr>
              <p:cNvPr id="12" name="AutoShape 18"/>
              <p:cNvSpPr>
                <a:spLocks/>
              </p:cNvSpPr>
              <p:nvPr/>
            </p:nvSpPr>
            <p:spPr bwMode="auto">
              <a:xfrm>
                <a:off x="8089900" y="2090738"/>
                <a:ext cx="517525" cy="459582"/>
              </a:xfrm>
              <a:custGeom>
                <a:avLst/>
                <a:gdLst>
                  <a:gd name="T0" fmla="*/ 517525 w 21600"/>
                  <a:gd name="T1" fmla="*/ 459582 h 21600"/>
                  <a:gd name="T2" fmla="*/ 517525 w 21600"/>
                  <a:gd name="T3" fmla="*/ 459582 h 21600"/>
                  <a:gd name="T4" fmla="*/ 517525 w 21600"/>
                  <a:gd name="T5" fmla="*/ 459582 h 21600"/>
                  <a:gd name="T6" fmla="*/ 517525 w 21600"/>
                  <a:gd name="T7" fmla="*/ 459582 h 2160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8967" y="21600"/>
                    </a:moveTo>
                    <a:lnTo>
                      <a:pt x="21599" y="13514"/>
                    </a:lnTo>
                    <a:lnTo>
                      <a:pt x="21523" y="4158"/>
                    </a:lnTo>
                    <a:lnTo>
                      <a:pt x="17141" y="0"/>
                    </a:lnTo>
                    <a:lnTo>
                      <a:pt x="0" y="12994"/>
                    </a:lnTo>
                    <a:lnTo>
                      <a:pt x="8967" y="21600"/>
                    </a:lnTo>
                    <a:close/>
                  </a:path>
                </a:pathLst>
              </a:custGeom>
              <a:solidFill>
                <a:srgbClr val="55264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AutoShape 19"/>
              <p:cNvSpPr>
                <a:spLocks/>
              </p:cNvSpPr>
              <p:nvPr/>
            </p:nvSpPr>
            <p:spPr bwMode="auto">
              <a:xfrm>
                <a:off x="8013700" y="1892300"/>
                <a:ext cx="498475" cy="57467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0"/>
                    </a:moveTo>
                    <a:lnTo>
                      <a:pt x="21599" y="5400"/>
                    </a:lnTo>
                    <a:lnTo>
                      <a:pt x="21599" y="16200"/>
                    </a:lnTo>
                    <a:lnTo>
                      <a:pt x="10799" y="21599"/>
                    </a:lnTo>
                    <a:lnTo>
                      <a:pt x="0" y="16199"/>
                    </a:lnTo>
                    <a:lnTo>
                      <a:pt x="0" y="5400"/>
                    </a:lnTo>
                    <a:close/>
                  </a:path>
                </a:pathLst>
              </a:custGeom>
              <a:solidFill>
                <a:srgbClr val="8C4477"/>
              </a:solidFill>
              <a:ln w="25400" cap="flat" cmpd="sng">
                <a:solidFill>
                  <a:srgbClr val="000000">
                    <a:alpha val="0"/>
                  </a:srgbClr>
                </a:solidFill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>
                <a:lvl1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1pPr>
                <a:lvl2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2pPr>
                <a:lvl3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3pPr>
                <a:lvl4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4pPr>
                <a:lvl5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5pPr>
                <a:lvl6pPr marL="18288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6pPr>
                <a:lvl7pPr marL="22860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7pPr>
                <a:lvl8pPr marL="27432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8pPr>
                <a:lvl9pPr marL="32004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9pPr>
              </a:lstStyle>
              <a:p>
                <a:pPr algn="ctr" eaLnBrk="1">
                  <a:defRPr/>
                </a:pPr>
                <a:endParaRPr lang="en-US" sz="140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endParaRPr>
              </a:p>
            </p:txBody>
          </p:sp>
          <p:sp>
            <p:nvSpPr>
              <p:cNvPr id="14" name="AutoShape 28"/>
              <p:cNvSpPr>
                <a:spLocks/>
              </p:cNvSpPr>
              <p:nvPr/>
            </p:nvSpPr>
            <p:spPr bwMode="auto">
              <a:xfrm>
                <a:off x="8104982" y="2009775"/>
                <a:ext cx="330200" cy="33020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1147" y="17891"/>
                    </a:moveTo>
                    <a:cubicBezTo>
                      <a:pt x="8276" y="17891"/>
                      <a:pt x="5391" y="16584"/>
                      <a:pt x="5406" y="14334"/>
                    </a:cubicBezTo>
                    <a:cubicBezTo>
                      <a:pt x="5410" y="13655"/>
                      <a:pt x="5915" y="13031"/>
                      <a:pt x="6586" y="13031"/>
                    </a:cubicBezTo>
                    <a:cubicBezTo>
                      <a:pt x="8276" y="13031"/>
                      <a:pt x="8261" y="15555"/>
                      <a:pt x="10952" y="15555"/>
                    </a:cubicBezTo>
                    <a:cubicBezTo>
                      <a:pt x="12840" y="15555"/>
                      <a:pt x="13485" y="14519"/>
                      <a:pt x="13485" y="13799"/>
                    </a:cubicBezTo>
                    <a:cubicBezTo>
                      <a:pt x="13485" y="11194"/>
                      <a:pt x="5324" y="12791"/>
                      <a:pt x="5324" y="7893"/>
                    </a:cubicBezTo>
                    <a:cubicBezTo>
                      <a:pt x="5324" y="5242"/>
                      <a:pt x="7492" y="3413"/>
                      <a:pt x="10900" y="3614"/>
                    </a:cubicBezTo>
                    <a:cubicBezTo>
                      <a:pt x="14150" y="3806"/>
                      <a:pt x="16054" y="5242"/>
                      <a:pt x="16239" y="6583"/>
                    </a:cubicBezTo>
                    <a:cubicBezTo>
                      <a:pt x="16329" y="7459"/>
                      <a:pt x="15750" y="8141"/>
                      <a:pt x="14742" y="8141"/>
                    </a:cubicBezTo>
                    <a:cubicBezTo>
                      <a:pt x="13273" y="8141"/>
                      <a:pt x="13122" y="6172"/>
                      <a:pt x="10591" y="6172"/>
                    </a:cubicBezTo>
                    <a:cubicBezTo>
                      <a:pt x="9449" y="6172"/>
                      <a:pt x="8485" y="6649"/>
                      <a:pt x="8485" y="7684"/>
                    </a:cubicBezTo>
                    <a:cubicBezTo>
                      <a:pt x="8485" y="9846"/>
                      <a:pt x="16598" y="8590"/>
                      <a:pt x="16598" y="13350"/>
                    </a:cubicBezTo>
                    <a:cubicBezTo>
                      <a:pt x="16598" y="16093"/>
                      <a:pt x="14411" y="17891"/>
                      <a:pt x="11147" y="17891"/>
                    </a:cubicBezTo>
                    <a:close/>
                    <a:moveTo>
                      <a:pt x="20714" y="12574"/>
                    </a:moveTo>
                    <a:cubicBezTo>
                      <a:pt x="20815" y="12000"/>
                      <a:pt x="20870" y="11410"/>
                      <a:pt x="20870" y="10807"/>
                    </a:cubicBezTo>
                    <a:cubicBezTo>
                      <a:pt x="20870" y="5216"/>
                      <a:pt x="16358" y="684"/>
                      <a:pt x="10792" y="684"/>
                    </a:cubicBezTo>
                    <a:cubicBezTo>
                      <a:pt x="10157" y="684"/>
                      <a:pt x="9538" y="745"/>
                      <a:pt x="8936" y="857"/>
                    </a:cubicBezTo>
                    <a:cubicBezTo>
                      <a:pt x="8046" y="313"/>
                      <a:pt x="7000" y="0"/>
                      <a:pt x="5882" y="0"/>
                    </a:cubicBezTo>
                    <a:cubicBezTo>
                      <a:pt x="2633" y="0"/>
                      <a:pt x="0" y="2645"/>
                      <a:pt x="0" y="5908"/>
                    </a:cubicBezTo>
                    <a:cubicBezTo>
                      <a:pt x="0" y="7045"/>
                      <a:pt x="320" y="8107"/>
                      <a:pt x="874" y="9009"/>
                    </a:cubicBezTo>
                    <a:cubicBezTo>
                      <a:pt x="770" y="9593"/>
                      <a:pt x="713" y="10193"/>
                      <a:pt x="713" y="10807"/>
                    </a:cubicBezTo>
                    <a:cubicBezTo>
                      <a:pt x="713" y="16399"/>
                      <a:pt x="5225" y="20932"/>
                      <a:pt x="10792" y="20932"/>
                    </a:cubicBezTo>
                    <a:cubicBezTo>
                      <a:pt x="11437" y="20932"/>
                      <a:pt x="12068" y="20868"/>
                      <a:pt x="12681" y="20752"/>
                    </a:cubicBezTo>
                    <a:cubicBezTo>
                      <a:pt x="13567" y="21289"/>
                      <a:pt x="14606" y="21599"/>
                      <a:pt x="15717" y="21599"/>
                    </a:cubicBezTo>
                    <a:cubicBezTo>
                      <a:pt x="18966" y="21599"/>
                      <a:pt x="21599" y="18954"/>
                      <a:pt x="21599" y="15691"/>
                    </a:cubicBezTo>
                    <a:cubicBezTo>
                      <a:pt x="21599" y="14546"/>
                      <a:pt x="21275" y="13478"/>
                      <a:pt x="20714" y="1257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19050" tIns="19050" rIns="19050" bIns="19050" anchor="ctr"/>
              <a:lstStyle>
                <a:lvl1pPr defTabSz="457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1pPr>
                <a:lvl2pPr defTabSz="457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2pPr>
                <a:lvl3pPr defTabSz="457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3pPr>
                <a:lvl4pPr defTabSz="457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4pPr>
                <a:lvl5pPr defTabSz="457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5pPr>
                <a:lvl6pPr marL="1828800" algn="ctr" defTabSz="457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6pPr>
                <a:lvl7pPr marL="2286000" algn="ctr" defTabSz="457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7pPr>
                <a:lvl8pPr marL="2743200" algn="ctr" defTabSz="457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8pPr>
                <a:lvl9pPr marL="3200400" algn="ctr" defTabSz="457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9pPr>
              </a:lstStyle>
              <a:p>
                <a:pPr algn="ctr" eaLnBrk="1">
                  <a:defRPr/>
                </a:pPr>
                <a:endParaRPr lang="en-US" sz="1400">
                  <a:solidFill>
                    <a:schemeClr val="bg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endParaRPr>
              </a:p>
            </p:txBody>
          </p:sp>
        </p:grpSp>
        <p:sp>
          <p:nvSpPr>
            <p:cNvPr id="10" name="AutoShape 4"/>
            <p:cNvSpPr>
              <a:spLocks/>
            </p:cNvSpPr>
            <p:nvPr/>
          </p:nvSpPr>
          <p:spPr bwMode="auto">
            <a:xfrm>
              <a:off x="5542910" y="1568192"/>
              <a:ext cx="2122116" cy="285941"/>
            </a:xfrm>
            <a:custGeom>
              <a:avLst/>
              <a:gdLst>
                <a:gd name="T0" fmla="*/ 1112044 w 21600"/>
                <a:gd name="T1" fmla="*/ 330200 h 21600"/>
                <a:gd name="T2" fmla="*/ 1112044 w 21600"/>
                <a:gd name="T3" fmla="*/ 330200 h 21600"/>
                <a:gd name="T4" fmla="*/ 1112044 w 21600"/>
                <a:gd name="T5" fmla="*/ 330200 h 21600"/>
                <a:gd name="T6" fmla="*/ 1112044 w 21600"/>
                <a:gd name="T7" fmla="*/ 33020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599"/>
                  </a:lnTo>
                  <a:lnTo>
                    <a:pt x="0" y="2159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rgbClr val="000000"/>
                  </a:solidFill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5400" tIns="25400" rIns="25400" bIns="25400" anchor="ctr"/>
            <a:lstStyle>
              <a:lvl1pPr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1pPr>
              <a:lvl2pPr marL="742950" indent="-28575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2pPr>
              <a:lvl3pPr marL="11430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3pPr>
              <a:lvl4pPr marL="16002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4pPr>
              <a:lvl5pPr marL="20574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5pPr>
              <a:lvl6pPr marL="25146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6pPr>
              <a:lvl7pPr marL="29718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7pPr>
              <a:lvl8pPr marL="34290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8pPr>
              <a:lvl9pPr marL="38862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9pPr>
            </a:lstStyle>
            <a:p>
              <a:pPr algn="l" eaLnBrk="1"/>
              <a:r>
                <a:rPr lang="en-US" sz="1400" dirty="0" smtClean="0">
                  <a:solidFill>
                    <a:srgbClr val="00B0F0"/>
                  </a:solidFill>
                  <a:latin typeface="Lato Light" panose="020F0302020204030203" pitchFamily="34" charset="0"/>
                  <a:sym typeface="Lato Light" panose="020F0302020204030203" pitchFamily="34" charset="0"/>
                </a:rPr>
                <a:t>Ing.villanueva1</a:t>
              </a:r>
              <a:endParaRPr lang="en-US" sz="1400" dirty="0">
                <a:solidFill>
                  <a:srgbClr val="00B0F0"/>
                </a:solidFill>
              </a:endParaRPr>
            </a:p>
          </p:txBody>
        </p:sp>
      </p:grpSp>
      <p:grpSp>
        <p:nvGrpSpPr>
          <p:cNvPr id="15" name="Grupo 14"/>
          <p:cNvGrpSpPr/>
          <p:nvPr/>
        </p:nvGrpSpPr>
        <p:grpSpPr>
          <a:xfrm>
            <a:off x="491724" y="5439139"/>
            <a:ext cx="3583773" cy="745397"/>
            <a:chOff x="4512261" y="2147299"/>
            <a:chExt cx="3583773" cy="745397"/>
          </a:xfrm>
        </p:grpSpPr>
        <p:sp>
          <p:nvSpPr>
            <p:cNvPr id="16" name="AutoShape 21"/>
            <p:cNvSpPr>
              <a:spLocks/>
            </p:cNvSpPr>
            <p:nvPr/>
          </p:nvSpPr>
          <p:spPr bwMode="auto">
            <a:xfrm>
              <a:off x="5111422" y="2290667"/>
              <a:ext cx="2734793" cy="190681"/>
            </a:xfrm>
            <a:custGeom>
              <a:avLst/>
              <a:gdLst>
                <a:gd name="T0" fmla="*/ 2051844 w 21600"/>
                <a:gd name="T1" fmla="*/ 330200 h 21600"/>
                <a:gd name="T2" fmla="*/ 2051844 w 21600"/>
                <a:gd name="T3" fmla="*/ 330200 h 21600"/>
                <a:gd name="T4" fmla="*/ 2051844 w 21600"/>
                <a:gd name="T5" fmla="*/ 330200 h 21600"/>
                <a:gd name="T6" fmla="*/ 2051844 w 21600"/>
                <a:gd name="T7" fmla="*/ 33020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599"/>
                  </a:lnTo>
                  <a:lnTo>
                    <a:pt x="0" y="2159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rgbClr val="000000"/>
                  </a:solidFill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5400" tIns="25400" rIns="25400" bIns="25400" anchor="ctr"/>
            <a:lstStyle>
              <a:lvl1pPr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1pPr>
              <a:lvl2pPr marL="742950" indent="-28575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2pPr>
              <a:lvl3pPr marL="11430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3pPr>
              <a:lvl4pPr marL="16002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4pPr>
              <a:lvl5pPr marL="20574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5pPr>
              <a:lvl6pPr marL="25146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6pPr>
              <a:lvl7pPr marL="29718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7pPr>
              <a:lvl8pPr marL="34290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8pPr>
              <a:lvl9pPr marL="38862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9pPr>
            </a:lstStyle>
            <a:p>
              <a:pPr algn="l" eaLnBrk="1"/>
              <a:r>
                <a:rPr lang="en-US" sz="1400" dirty="0" smtClean="0">
                  <a:solidFill>
                    <a:srgbClr val="00B0F0"/>
                  </a:solidFill>
                  <a:latin typeface="Lato Light" panose="020F0302020204030203" pitchFamily="34" charset="0"/>
                  <a:sym typeface="Lato Light" panose="020F0302020204030203" pitchFamily="34" charset="0"/>
                </a:rPr>
                <a:t>Salucita.roman@ilab.net</a:t>
              </a:r>
              <a:endParaRPr lang="en-US" sz="1400" dirty="0">
                <a:solidFill>
                  <a:srgbClr val="00B0F0"/>
                </a:solidFill>
              </a:endParaRPr>
            </a:p>
          </p:txBody>
        </p:sp>
        <p:grpSp>
          <p:nvGrpSpPr>
            <p:cNvPr id="17" name="Grupo 16"/>
            <p:cNvGrpSpPr/>
            <p:nvPr/>
          </p:nvGrpSpPr>
          <p:grpSpPr>
            <a:xfrm>
              <a:off x="4512261" y="2147299"/>
              <a:ext cx="572913" cy="745397"/>
              <a:chOff x="6782042" y="2377060"/>
              <a:chExt cx="692944" cy="800100"/>
            </a:xfrm>
          </p:grpSpPr>
          <p:sp>
            <p:nvSpPr>
              <p:cNvPr id="19" name="AutoShape 15"/>
              <p:cNvSpPr>
                <a:spLocks/>
              </p:cNvSpPr>
              <p:nvPr/>
            </p:nvSpPr>
            <p:spPr bwMode="auto">
              <a:xfrm>
                <a:off x="6932060" y="2691209"/>
                <a:ext cx="517525" cy="459582"/>
              </a:xfrm>
              <a:custGeom>
                <a:avLst/>
                <a:gdLst>
                  <a:gd name="T0" fmla="*/ 517525 w 21600"/>
                  <a:gd name="T1" fmla="*/ 459582 h 21600"/>
                  <a:gd name="T2" fmla="*/ 517525 w 21600"/>
                  <a:gd name="T3" fmla="*/ 459582 h 21600"/>
                  <a:gd name="T4" fmla="*/ 517525 w 21600"/>
                  <a:gd name="T5" fmla="*/ 459582 h 21600"/>
                  <a:gd name="T6" fmla="*/ 517525 w 21600"/>
                  <a:gd name="T7" fmla="*/ 459582 h 2160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8967" y="21600"/>
                    </a:moveTo>
                    <a:lnTo>
                      <a:pt x="21599" y="13514"/>
                    </a:lnTo>
                    <a:lnTo>
                      <a:pt x="21523" y="4158"/>
                    </a:lnTo>
                    <a:lnTo>
                      <a:pt x="17141" y="0"/>
                    </a:lnTo>
                    <a:lnTo>
                      <a:pt x="0" y="12994"/>
                    </a:lnTo>
                    <a:lnTo>
                      <a:pt x="8967" y="21600"/>
                    </a:lnTo>
                    <a:close/>
                  </a:path>
                </a:pathLst>
              </a:custGeom>
              <a:solidFill>
                <a:srgbClr val="E3871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20" name="Grupo 19"/>
              <p:cNvGrpSpPr/>
              <p:nvPr/>
            </p:nvGrpSpPr>
            <p:grpSpPr>
              <a:xfrm>
                <a:off x="6782042" y="2377060"/>
                <a:ext cx="692944" cy="800100"/>
                <a:chOff x="7539832" y="2514600"/>
                <a:chExt cx="692944" cy="800100"/>
              </a:xfrm>
            </p:grpSpPr>
            <p:sp>
              <p:nvSpPr>
                <p:cNvPr id="21" name="AutoShape 14"/>
                <p:cNvSpPr>
                  <a:spLocks/>
                </p:cNvSpPr>
                <p:nvPr/>
              </p:nvSpPr>
              <p:spPr bwMode="auto">
                <a:xfrm>
                  <a:off x="7539832" y="2514600"/>
                  <a:ext cx="692944" cy="800100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10800" y="0"/>
                      </a:moveTo>
                      <a:lnTo>
                        <a:pt x="21600" y="5400"/>
                      </a:lnTo>
                      <a:lnTo>
                        <a:pt x="21599" y="16200"/>
                      </a:lnTo>
                      <a:lnTo>
                        <a:pt x="10799" y="21599"/>
                      </a:lnTo>
                      <a:lnTo>
                        <a:pt x="0" y="16199"/>
                      </a:lnTo>
                      <a:lnTo>
                        <a:pt x="0" y="5400"/>
                      </a:lnTo>
                      <a:close/>
                    </a:path>
                  </a:pathLst>
                </a:custGeom>
                <a:solidFill>
                  <a:srgbClr val="EB9C2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/>
                <a:lstStyle>
                  <a:lvl1pPr defTabSz="584200"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1pPr>
                  <a:lvl2pPr defTabSz="584200"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2pPr>
                  <a:lvl3pPr defTabSz="584200"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3pPr>
                  <a:lvl4pPr defTabSz="584200"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4pPr>
                  <a:lvl5pPr defTabSz="584200"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5pPr>
                  <a:lvl6pPr marL="1828800" algn="ctr" defTabSz="58420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6pPr>
                  <a:lvl7pPr marL="2286000" algn="ctr" defTabSz="58420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7pPr>
                  <a:lvl8pPr marL="2743200" algn="ctr" defTabSz="58420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8pPr>
                  <a:lvl9pPr marL="3200400" algn="ctr" defTabSz="58420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9pPr>
                </a:lstStyle>
                <a:p>
                  <a:pPr algn="ctr" eaLnBrk="1">
                    <a:defRPr/>
                  </a:pPr>
                  <a:endParaRPr lang="en-US" sz="140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endParaRPr>
                </a:p>
              </p:txBody>
            </p:sp>
            <p:sp>
              <p:nvSpPr>
                <p:cNvPr id="22" name="AutoShape 16"/>
                <p:cNvSpPr>
                  <a:spLocks/>
                </p:cNvSpPr>
                <p:nvPr/>
              </p:nvSpPr>
              <p:spPr bwMode="auto">
                <a:xfrm>
                  <a:off x="7632700" y="2641600"/>
                  <a:ext cx="498475" cy="574675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10800" y="0"/>
                      </a:moveTo>
                      <a:lnTo>
                        <a:pt x="21599" y="5400"/>
                      </a:lnTo>
                      <a:lnTo>
                        <a:pt x="21599" y="16200"/>
                      </a:lnTo>
                      <a:lnTo>
                        <a:pt x="10799" y="21599"/>
                      </a:lnTo>
                      <a:lnTo>
                        <a:pt x="0" y="16199"/>
                      </a:lnTo>
                      <a:lnTo>
                        <a:pt x="0" y="5400"/>
                      </a:lnTo>
                      <a:close/>
                    </a:path>
                  </a:pathLst>
                </a:custGeom>
                <a:solidFill>
                  <a:srgbClr val="EEAD57"/>
                </a:solidFill>
                <a:ln w="25400" cap="flat" cmpd="sng">
                  <a:solidFill>
                    <a:srgbClr val="000000">
                      <a:alpha val="0"/>
                    </a:srgbClr>
                  </a:solidFill>
                  <a:prstDash val="solid"/>
                  <a:miter lim="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/>
                <a:lstStyle>
                  <a:lvl1pPr defTabSz="584200"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1pPr>
                  <a:lvl2pPr defTabSz="584200"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2pPr>
                  <a:lvl3pPr defTabSz="584200"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3pPr>
                  <a:lvl4pPr defTabSz="584200"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4pPr>
                  <a:lvl5pPr defTabSz="584200"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5pPr>
                  <a:lvl6pPr marL="1828800" algn="ctr" defTabSz="58420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6pPr>
                  <a:lvl7pPr marL="2286000" algn="ctr" defTabSz="58420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7pPr>
                  <a:lvl8pPr marL="2743200" algn="ctr" defTabSz="58420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8pPr>
                  <a:lvl9pPr marL="3200400" algn="ctr" defTabSz="58420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9pPr>
                </a:lstStyle>
                <a:p>
                  <a:pPr algn="ctr" eaLnBrk="1">
                    <a:defRPr/>
                  </a:pPr>
                  <a:endParaRPr lang="en-US" sz="140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endParaRPr>
                </a:p>
              </p:txBody>
            </p:sp>
            <p:sp>
              <p:nvSpPr>
                <p:cNvPr id="23" name="AutoShape 29"/>
                <p:cNvSpPr>
                  <a:spLocks/>
                </p:cNvSpPr>
                <p:nvPr/>
              </p:nvSpPr>
              <p:spPr bwMode="auto">
                <a:xfrm>
                  <a:off x="7689850" y="2743200"/>
                  <a:ext cx="381000" cy="381000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11431" y="11685"/>
                      </a:moveTo>
                      <a:cubicBezTo>
                        <a:pt x="11743" y="11073"/>
                        <a:pt x="11951" y="10280"/>
                        <a:pt x="11951" y="9681"/>
                      </a:cubicBezTo>
                      <a:cubicBezTo>
                        <a:pt x="11951" y="9148"/>
                        <a:pt x="11652" y="8784"/>
                        <a:pt x="11196" y="8784"/>
                      </a:cubicBezTo>
                      <a:cubicBezTo>
                        <a:pt x="10702" y="8784"/>
                        <a:pt x="10247" y="9109"/>
                        <a:pt x="9921" y="9720"/>
                      </a:cubicBezTo>
                      <a:cubicBezTo>
                        <a:pt x="9609" y="10306"/>
                        <a:pt x="9401" y="11073"/>
                        <a:pt x="9401" y="11672"/>
                      </a:cubicBezTo>
                      <a:cubicBezTo>
                        <a:pt x="9401" y="12362"/>
                        <a:pt x="9661" y="12726"/>
                        <a:pt x="10155" y="12726"/>
                      </a:cubicBezTo>
                      <a:cubicBezTo>
                        <a:pt x="10637" y="12726"/>
                        <a:pt x="11092" y="12349"/>
                        <a:pt x="11431" y="11685"/>
                      </a:cubicBezTo>
                      <a:close/>
                      <a:moveTo>
                        <a:pt x="14111" y="7820"/>
                      </a:moveTo>
                      <a:cubicBezTo>
                        <a:pt x="14033" y="8081"/>
                        <a:pt x="13799" y="8875"/>
                        <a:pt x="13733" y="9161"/>
                      </a:cubicBezTo>
                      <a:lnTo>
                        <a:pt x="12954" y="12049"/>
                      </a:lnTo>
                      <a:cubicBezTo>
                        <a:pt x="12914" y="12192"/>
                        <a:pt x="12901" y="12323"/>
                        <a:pt x="12901" y="12440"/>
                      </a:cubicBezTo>
                      <a:cubicBezTo>
                        <a:pt x="12901" y="12648"/>
                        <a:pt x="13018" y="12765"/>
                        <a:pt x="13239" y="12765"/>
                      </a:cubicBezTo>
                      <a:cubicBezTo>
                        <a:pt x="13486" y="12765"/>
                        <a:pt x="13799" y="12635"/>
                        <a:pt x="14059" y="12427"/>
                      </a:cubicBezTo>
                      <a:cubicBezTo>
                        <a:pt x="14697" y="11932"/>
                        <a:pt x="15113" y="10969"/>
                        <a:pt x="15113" y="9967"/>
                      </a:cubicBezTo>
                      <a:cubicBezTo>
                        <a:pt x="15113" y="8770"/>
                        <a:pt x="14553" y="7729"/>
                        <a:pt x="13617" y="7144"/>
                      </a:cubicBezTo>
                      <a:cubicBezTo>
                        <a:pt x="13031" y="6793"/>
                        <a:pt x="12212" y="6598"/>
                        <a:pt x="11288" y="6598"/>
                      </a:cubicBezTo>
                      <a:cubicBezTo>
                        <a:pt x="8542" y="6598"/>
                        <a:pt x="6617" y="8419"/>
                        <a:pt x="6617" y="10995"/>
                      </a:cubicBezTo>
                      <a:cubicBezTo>
                        <a:pt x="6617" y="13493"/>
                        <a:pt x="8347" y="15133"/>
                        <a:pt x="10962" y="15133"/>
                      </a:cubicBezTo>
                      <a:cubicBezTo>
                        <a:pt x="11639" y="15133"/>
                        <a:pt x="12354" y="15029"/>
                        <a:pt x="12954" y="14847"/>
                      </a:cubicBezTo>
                      <a:cubicBezTo>
                        <a:pt x="13460" y="14691"/>
                        <a:pt x="13786" y="14534"/>
                        <a:pt x="14411" y="14157"/>
                      </a:cubicBezTo>
                      <a:lnTo>
                        <a:pt x="15204" y="15302"/>
                      </a:lnTo>
                      <a:cubicBezTo>
                        <a:pt x="14501" y="15719"/>
                        <a:pt x="14189" y="15875"/>
                        <a:pt x="13577" y="16057"/>
                      </a:cubicBezTo>
                      <a:cubicBezTo>
                        <a:pt x="12693" y="16330"/>
                        <a:pt x="11756" y="16473"/>
                        <a:pt x="10819" y="16473"/>
                      </a:cubicBezTo>
                      <a:cubicBezTo>
                        <a:pt x="8985" y="16473"/>
                        <a:pt x="7554" y="15953"/>
                        <a:pt x="6526" y="14925"/>
                      </a:cubicBezTo>
                      <a:cubicBezTo>
                        <a:pt x="5550" y="13962"/>
                        <a:pt x="5016" y="12583"/>
                        <a:pt x="5016" y="11073"/>
                      </a:cubicBezTo>
                      <a:cubicBezTo>
                        <a:pt x="5016" y="9460"/>
                        <a:pt x="5563" y="8068"/>
                        <a:pt x="6604" y="7014"/>
                      </a:cubicBezTo>
                      <a:cubicBezTo>
                        <a:pt x="7800" y="5817"/>
                        <a:pt x="9375" y="5231"/>
                        <a:pt x="11392" y="5231"/>
                      </a:cubicBezTo>
                      <a:cubicBezTo>
                        <a:pt x="14424" y="5231"/>
                        <a:pt x="16583" y="7183"/>
                        <a:pt x="16583" y="9902"/>
                      </a:cubicBezTo>
                      <a:cubicBezTo>
                        <a:pt x="16583" y="11125"/>
                        <a:pt x="16141" y="12244"/>
                        <a:pt x="15347" y="13038"/>
                      </a:cubicBezTo>
                      <a:cubicBezTo>
                        <a:pt x="14671" y="13715"/>
                        <a:pt x="13786" y="14105"/>
                        <a:pt x="12914" y="14105"/>
                      </a:cubicBezTo>
                      <a:cubicBezTo>
                        <a:pt x="12406" y="14105"/>
                        <a:pt x="11990" y="13910"/>
                        <a:pt x="11795" y="13598"/>
                      </a:cubicBezTo>
                      <a:cubicBezTo>
                        <a:pt x="11730" y="13494"/>
                        <a:pt x="11717" y="13428"/>
                        <a:pt x="11678" y="13194"/>
                      </a:cubicBezTo>
                      <a:cubicBezTo>
                        <a:pt x="11184" y="13767"/>
                        <a:pt x="10663" y="14014"/>
                        <a:pt x="9934" y="14014"/>
                      </a:cubicBezTo>
                      <a:cubicBezTo>
                        <a:pt x="8646" y="14014"/>
                        <a:pt x="7826" y="13052"/>
                        <a:pt x="7826" y="11568"/>
                      </a:cubicBezTo>
                      <a:cubicBezTo>
                        <a:pt x="7826" y="9369"/>
                        <a:pt x="9271" y="7548"/>
                        <a:pt x="11001" y="7548"/>
                      </a:cubicBezTo>
                      <a:cubicBezTo>
                        <a:pt x="11730" y="7548"/>
                        <a:pt x="12095" y="7729"/>
                        <a:pt x="12445" y="8276"/>
                      </a:cubicBezTo>
                      <a:lnTo>
                        <a:pt x="12576" y="7821"/>
                      </a:lnTo>
                      <a:lnTo>
                        <a:pt x="14111" y="7821"/>
                      </a:lnTo>
                      <a:cubicBezTo>
                        <a:pt x="14111" y="7821"/>
                        <a:pt x="14111" y="7820"/>
                        <a:pt x="14111" y="7820"/>
                      </a:cubicBezTo>
                      <a:close/>
                      <a:moveTo>
                        <a:pt x="10800" y="0"/>
                      </a:move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0" y="16765"/>
                        <a:pt x="4835" y="21600"/>
                        <a:pt x="10800" y="21600"/>
                      </a:cubicBezTo>
                      <a:cubicBezTo>
                        <a:pt x="16765" y="21600"/>
                        <a:pt x="21600" y="16765"/>
                        <a:pt x="21600" y="10800"/>
                      </a:cubicBezTo>
                      <a:cubicBezTo>
                        <a:pt x="21600" y="4835"/>
                        <a:pt x="16765" y="0"/>
                        <a:pt x="10800" y="0"/>
                      </a:cubicBezTo>
                      <a:cubicBezTo>
                        <a:pt x="10800" y="0"/>
                        <a:pt x="10800" y="0"/>
                        <a:pt x="10800" y="0"/>
                      </a:cubicBezTo>
                      <a:close/>
                      <a:moveTo>
                        <a:pt x="10800" y="2096"/>
                      </a:moveTo>
                      <a:cubicBezTo>
                        <a:pt x="13124" y="2096"/>
                        <a:pt x="15310" y="3002"/>
                        <a:pt x="16954" y="4646"/>
                      </a:cubicBezTo>
                      <a:cubicBezTo>
                        <a:pt x="18597" y="6290"/>
                        <a:pt x="19503" y="8475"/>
                        <a:pt x="19503" y="10800"/>
                      </a:cubicBezTo>
                      <a:cubicBezTo>
                        <a:pt x="19503" y="13124"/>
                        <a:pt x="18597" y="15310"/>
                        <a:pt x="16954" y="16954"/>
                      </a:cubicBezTo>
                      <a:cubicBezTo>
                        <a:pt x="15310" y="18598"/>
                        <a:pt x="13124" y="19503"/>
                        <a:pt x="10800" y="19503"/>
                      </a:cubicBezTo>
                      <a:cubicBezTo>
                        <a:pt x="8475" y="19503"/>
                        <a:pt x="6290" y="18598"/>
                        <a:pt x="4645" y="16954"/>
                      </a:cubicBezTo>
                      <a:cubicBezTo>
                        <a:pt x="3002" y="15310"/>
                        <a:pt x="2096" y="13124"/>
                        <a:pt x="2096" y="10800"/>
                      </a:cubicBezTo>
                      <a:cubicBezTo>
                        <a:pt x="2096" y="8475"/>
                        <a:pt x="3002" y="6290"/>
                        <a:pt x="4645" y="4646"/>
                      </a:cubicBezTo>
                      <a:cubicBezTo>
                        <a:pt x="6290" y="3002"/>
                        <a:pt x="8475" y="2096"/>
                        <a:pt x="10800" y="2096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lIns="19050" tIns="19050" rIns="19050" bIns="19050" anchor="ctr"/>
                <a:lstStyle>
                  <a:lvl1pPr defTabSz="457200"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1pPr>
                  <a:lvl2pPr defTabSz="457200"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2pPr>
                  <a:lvl3pPr defTabSz="457200"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3pPr>
                  <a:lvl4pPr defTabSz="457200"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4pPr>
                  <a:lvl5pPr defTabSz="457200"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5pPr>
                  <a:lvl6pPr marL="1828800" algn="ctr" defTabSz="45720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6pPr>
                  <a:lvl7pPr marL="2286000" algn="ctr" defTabSz="45720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7pPr>
                  <a:lvl8pPr marL="2743200" algn="ctr" defTabSz="45720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8pPr>
                  <a:lvl9pPr marL="3200400" algn="ctr" defTabSz="45720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600">
                      <a:solidFill>
                        <a:srgbClr val="000000"/>
                      </a:solidFill>
                      <a:latin typeface="Gill Sans" charset="0"/>
                      <a:ea typeface="Gill Sans" charset="0"/>
                      <a:cs typeface="Gill Sans" charset="0"/>
                      <a:sym typeface="Gill Sans" charset="0"/>
                    </a:defRPr>
                  </a:lvl9pPr>
                </a:lstStyle>
                <a:p>
                  <a:pPr algn="ctr" eaLnBrk="1">
                    <a:defRPr/>
                  </a:pPr>
                  <a:endParaRPr lang="en-US" sz="140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</a:endParaRPr>
                </a:p>
              </p:txBody>
            </p:sp>
          </p:grpSp>
        </p:grpSp>
        <p:sp>
          <p:nvSpPr>
            <p:cNvPr id="18" name="AutoShape 21"/>
            <p:cNvSpPr>
              <a:spLocks/>
            </p:cNvSpPr>
            <p:nvPr/>
          </p:nvSpPr>
          <p:spPr bwMode="auto">
            <a:xfrm>
              <a:off x="5133388" y="2526458"/>
              <a:ext cx="2962646" cy="288261"/>
            </a:xfrm>
            <a:custGeom>
              <a:avLst/>
              <a:gdLst>
                <a:gd name="T0" fmla="*/ 2051844 w 21600"/>
                <a:gd name="T1" fmla="*/ 330200 h 21600"/>
                <a:gd name="T2" fmla="*/ 2051844 w 21600"/>
                <a:gd name="T3" fmla="*/ 330200 h 21600"/>
                <a:gd name="T4" fmla="*/ 2051844 w 21600"/>
                <a:gd name="T5" fmla="*/ 330200 h 21600"/>
                <a:gd name="T6" fmla="*/ 2051844 w 21600"/>
                <a:gd name="T7" fmla="*/ 33020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599"/>
                  </a:lnTo>
                  <a:lnTo>
                    <a:pt x="0" y="2159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rgbClr val="000000"/>
                  </a:solidFill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5400" tIns="25400" rIns="25400" bIns="25400" anchor="ctr"/>
            <a:lstStyle>
              <a:lvl1pPr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1pPr>
              <a:lvl2pPr marL="742950" indent="-28575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2pPr>
              <a:lvl3pPr marL="11430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3pPr>
              <a:lvl4pPr marL="16002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4pPr>
              <a:lvl5pPr marL="20574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5pPr>
              <a:lvl6pPr marL="25146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6pPr>
              <a:lvl7pPr marL="29718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7pPr>
              <a:lvl8pPr marL="34290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8pPr>
              <a:lvl9pPr marL="38862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9pPr>
            </a:lstStyle>
            <a:p>
              <a:pPr algn="l" eaLnBrk="1"/>
              <a:r>
                <a:rPr lang="en-US" sz="1400" dirty="0" smtClean="0">
                  <a:solidFill>
                    <a:srgbClr val="00B0F0"/>
                  </a:solidFill>
                  <a:latin typeface="Lato Light" panose="020F0302020204030203" pitchFamily="34" charset="0"/>
                  <a:sym typeface="Lato Light" panose="020F0302020204030203" pitchFamily="34" charset="0"/>
                </a:rPr>
                <a:t>Jvillanueva@ilab.net</a:t>
              </a:r>
              <a:endParaRPr lang="en-US" sz="1400" dirty="0">
                <a:solidFill>
                  <a:srgbClr val="00B0F0"/>
                </a:solidFill>
              </a:endParaRPr>
            </a:p>
          </p:txBody>
        </p:sp>
      </p:grpSp>
      <p:grpSp>
        <p:nvGrpSpPr>
          <p:cNvPr id="24" name="Grupo 23"/>
          <p:cNvGrpSpPr/>
          <p:nvPr/>
        </p:nvGrpSpPr>
        <p:grpSpPr>
          <a:xfrm>
            <a:off x="5955795" y="4460244"/>
            <a:ext cx="3868391" cy="688368"/>
            <a:chOff x="4153289" y="2979506"/>
            <a:chExt cx="3868391" cy="688368"/>
          </a:xfrm>
        </p:grpSpPr>
        <p:sp>
          <p:nvSpPr>
            <p:cNvPr id="25" name="AutoShape 22"/>
            <p:cNvSpPr>
              <a:spLocks/>
            </p:cNvSpPr>
            <p:nvPr/>
          </p:nvSpPr>
          <p:spPr bwMode="auto">
            <a:xfrm>
              <a:off x="4828238" y="3076326"/>
              <a:ext cx="3181830" cy="219946"/>
            </a:xfrm>
            <a:custGeom>
              <a:avLst/>
              <a:gdLst>
                <a:gd name="T0" fmla="*/ 2043907 w 21600"/>
                <a:gd name="T1" fmla="*/ 330200 h 21600"/>
                <a:gd name="T2" fmla="*/ 2043907 w 21600"/>
                <a:gd name="T3" fmla="*/ 330200 h 21600"/>
                <a:gd name="T4" fmla="*/ 2043907 w 21600"/>
                <a:gd name="T5" fmla="*/ 330200 h 21600"/>
                <a:gd name="T6" fmla="*/ 2043907 w 21600"/>
                <a:gd name="T7" fmla="*/ 33020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599"/>
                  </a:lnTo>
                  <a:lnTo>
                    <a:pt x="0" y="2159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rgbClr val="000000"/>
                  </a:solidFill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5400" tIns="25400" rIns="25400" bIns="25400" anchor="ctr"/>
            <a:lstStyle>
              <a:lvl1pPr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1pPr>
              <a:lvl2pPr marL="742950" indent="-28575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2pPr>
              <a:lvl3pPr marL="11430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3pPr>
              <a:lvl4pPr marL="16002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4pPr>
              <a:lvl5pPr marL="20574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5pPr>
              <a:lvl6pPr marL="25146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6pPr>
              <a:lvl7pPr marL="29718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7pPr>
              <a:lvl8pPr marL="34290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8pPr>
              <a:lvl9pPr marL="38862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9pPr>
            </a:lstStyle>
            <a:p>
              <a:pPr algn="l"/>
              <a:r>
                <a:rPr lang="en-US" sz="1400" dirty="0" err="1" smtClean="0">
                  <a:solidFill>
                    <a:srgbClr val="00B0F0"/>
                  </a:solidFill>
                  <a:latin typeface="Lato Light" panose="020F0302020204030203" pitchFamily="34" charset="0"/>
                  <a:ea typeface="Lato Light" panose="020F0302020204030203" pitchFamily="34" charset="0"/>
                  <a:cs typeface="Lato Light" panose="020F0302020204030203" pitchFamily="34" charset="0"/>
                  <a:sym typeface="Lato Light" panose="020F0302020204030203" pitchFamily="34" charset="0"/>
                </a:rPr>
                <a:t>twitter.com</a:t>
              </a:r>
              <a:r>
                <a:rPr lang="es-ES" sz="1400" dirty="0" smtClean="0">
                  <a:solidFill>
                    <a:srgbClr val="00B0F0"/>
                  </a:solidFill>
                </a:rPr>
                <a:t>@</a:t>
              </a:r>
              <a:r>
                <a:rPr lang="es-ES" sz="1400" dirty="0" err="1">
                  <a:solidFill>
                    <a:srgbClr val="00B0F0"/>
                  </a:solidFill>
                </a:rPr>
                <a:t>Ing_Roman_Dguez</a:t>
              </a:r>
              <a:endParaRPr lang="en-US" sz="1400" dirty="0">
                <a:solidFill>
                  <a:srgbClr val="00B0F0"/>
                </a:solidFill>
              </a:endParaRPr>
            </a:p>
          </p:txBody>
        </p:sp>
        <p:grpSp>
          <p:nvGrpSpPr>
            <p:cNvPr id="26" name="Grupo 25"/>
            <p:cNvGrpSpPr/>
            <p:nvPr/>
          </p:nvGrpSpPr>
          <p:grpSpPr>
            <a:xfrm>
              <a:off x="4153289" y="2979506"/>
              <a:ext cx="572913" cy="688368"/>
              <a:chOff x="7139782" y="3238500"/>
              <a:chExt cx="692944" cy="800100"/>
            </a:xfrm>
          </p:grpSpPr>
          <p:sp>
            <p:nvSpPr>
              <p:cNvPr id="28" name="AutoShape 11"/>
              <p:cNvSpPr>
                <a:spLocks/>
              </p:cNvSpPr>
              <p:nvPr/>
            </p:nvSpPr>
            <p:spPr bwMode="auto">
              <a:xfrm>
                <a:off x="7139782" y="3238500"/>
                <a:ext cx="692944" cy="80010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0"/>
                    </a:moveTo>
                    <a:lnTo>
                      <a:pt x="21600" y="5400"/>
                    </a:lnTo>
                    <a:lnTo>
                      <a:pt x="21599" y="16200"/>
                    </a:lnTo>
                    <a:lnTo>
                      <a:pt x="10799" y="21599"/>
                    </a:lnTo>
                    <a:lnTo>
                      <a:pt x="0" y="16199"/>
                    </a:lnTo>
                    <a:lnTo>
                      <a:pt x="0" y="5400"/>
                    </a:lnTo>
                    <a:close/>
                  </a:path>
                </a:pathLst>
              </a:custGeom>
              <a:solidFill>
                <a:srgbClr val="7B3B65"/>
              </a:solidFill>
              <a:ln>
                <a:noFill/>
              </a:ln>
              <a:effectLst/>
              <a:extLst/>
            </p:spPr>
            <p:txBody>
              <a:bodyPr lIns="0" tIns="0" rIns="0" bIns="0" anchor="ctr"/>
              <a:lstStyle>
                <a:lvl1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1pPr>
                <a:lvl2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2pPr>
                <a:lvl3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3pPr>
                <a:lvl4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4pPr>
                <a:lvl5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5pPr>
                <a:lvl6pPr marL="18288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6pPr>
                <a:lvl7pPr marL="22860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7pPr>
                <a:lvl8pPr marL="27432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8pPr>
                <a:lvl9pPr marL="32004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9pPr>
              </a:lstStyle>
              <a:p>
                <a:pPr algn="ctr" eaLnBrk="1">
                  <a:defRPr/>
                </a:pPr>
                <a:endParaRPr lang="en-US" sz="140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endParaRPr>
              </a:p>
            </p:txBody>
          </p:sp>
          <p:sp>
            <p:nvSpPr>
              <p:cNvPr id="29" name="AutoShape 12"/>
              <p:cNvSpPr>
                <a:spLocks/>
              </p:cNvSpPr>
              <p:nvPr/>
            </p:nvSpPr>
            <p:spPr bwMode="auto">
              <a:xfrm>
                <a:off x="7315200" y="3551238"/>
                <a:ext cx="517525" cy="459582"/>
              </a:xfrm>
              <a:custGeom>
                <a:avLst/>
                <a:gdLst>
                  <a:gd name="T0" fmla="*/ 517525 w 21600"/>
                  <a:gd name="T1" fmla="*/ 459582 h 21600"/>
                  <a:gd name="T2" fmla="*/ 517525 w 21600"/>
                  <a:gd name="T3" fmla="*/ 459582 h 21600"/>
                  <a:gd name="T4" fmla="*/ 517525 w 21600"/>
                  <a:gd name="T5" fmla="*/ 459582 h 21600"/>
                  <a:gd name="T6" fmla="*/ 517525 w 21600"/>
                  <a:gd name="T7" fmla="*/ 459582 h 2160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8967" y="21600"/>
                    </a:moveTo>
                    <a:lnTo>
                      <a:pt x="21599" y="13514"/>
                    </a:lnTo>
                    <a:lnTo>
                      <a:pt x="21523" y="4158"/>
                    </a:lnTo>
                    <a:lnTo>
                      <a:pt x="17141" y="0"/>
                    </a:lnTo>
                    <a:lnTo>
                      <a:pt x="0" y="12994"/>
                    </a:lnTo>
                    <a:lnTo>
                      <a:pt x="8967" y="21600"/>
                    </a:lnTo>
                    <a:close/>
                  </a:path>
                </a:pathLst>
              </a:custGeom>
              <a:solidFill>
                <a:srgbClr val="55264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AutoShape 13"/>
              <p:cNvSpPr>
                <a:spLocks/>
              </p:cNvSpPr>
              <p:nvPr/>
            </p:nvSpPr>
            <p:spPr bwMode="auto">
              <a:xfrm>
                <a:off x="7239000" y="3352800"/>
                <a:ext cx="498475" cy="57467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0"/>
                    </a:moveTo>
                    <a:lnTo>
                      <a:pt x="21599" y="5400"/>
                    </a:lnTo>
                    <a:lnTo>
                      <a:pt x="21599" y="16200"/>
                    </a:lnTo>
                    <a:lnTo>
                      <a:pt x="10799" y="21599"/>
                    </a:lnTo>
                    <a:lnTo>
                      <a:pt x="0" y="16199"/>
                    </a:lnTo>
                    <a:lnTo>
                      <a:pt x="0" y="5400"/>
                    </a:lnTo>
                    <a:close/>
                  </a:path>
                </a:pathLst>
              </a:custGeom>
              <a:solidFill>
                <a:srgbClr val="8C4477"/>
              </a:solidFill>
              <a:ln w="25400" cap="flat" cmpd="sng">
                <a:solidFill>
                  <a:srgbClr val="000000">
                    <a:alpha val="0"/>
                  </a:srgbClr>
                </a:solidFill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>
                <a:lvl1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1pPr>
                <a:lvl2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2pPr>
                <a:lvl3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3pPr>
                <a:lvl4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4pPr>
                <a:lvl5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5pPr>
                <a:lvl6pPr marL="18288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6pPr>
                <a:lvl7pPr marL="22860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7pPr>
                <a:lvl8pPr marL="27432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8pPr>
                <a:lvl9pPr marL="32004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9pPr>
              </a:lstStyle>
              <a:p>
                <a:pPr algn="ctr" eaLnBrk="1">
                  <a:defRPr/>
                </a:pPr>
                <a:endParaRPr lang="en-US" sz="140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endParaRPr>
              </a:p>
            </p:txBody>
          </p:sp>
          <p:sp>
            <p:nvSpPr>
              <p:cNvPr id="31" name="AutoShape 30"/>
              <p:cNvSpPr>
                <a:spLocks/>
              </p:cNvSpPr>
              <p:nvPr/>
            </p:nvSpPr>
            <p:spPr bwMode="auto">
              <a:xfrm>
                <a:off x="7315200" y="3505200"/>
                <a:ext cx="330200" cy="26670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599" y="2556"/>
                    </a:moveTo>
                    <a:cubicBezTo>
                      <a:pt x="20805" y="2990"/>
                      <a:pt x="19951" y="3283"/>
                      <a:pt x="19054" y="3414"/>
                    </a:cubicBezTo>
                    <a:cubicBezTo>
                      <a:pt x="19969" y="2740"/>
                      <a:pt x="20671" y="1672"/>
                      <a:pt x="21003" y="398"/>
                    </a:cubicBezTo>
                    <a:cubicBezTo>
                      <a:pt x="20146" y="1023"/>
                      <a:pt x="19198" y="1477"/>
                      <a:pt x="18188" y="1721"/>
                    </a:cubicBezTo>
                    <a:cubicBezTo>
                      <a:pt x="17380" y="661"/>
                      <a:pt x="16228" y="0"/>
                      <a:pt x="14954" y="0"/>
                    </a:cubicBezTo>
                    <a:cubicBezTo>
                      <a:pt x="12094" y="0"/>
                      <a:pt x="9991" y="3284"/>
                      <a:pt x="10637" y="6695"/>
                    </a:cubicBezTo>
                    <a:cubicBezTo>
                      <a:pt x="6955" y="6468"/>
                      <a:pt x="3689" y="4296"/>
                      <a:pt x="1503" y="998"/>
                    </a:cubicBezTo>
                    <a:cubicBezTo>
                      <a:pt x="342" y="3448"/>
                      <a:pt x="901" y="6655"/>
                      <a:pt x="2875" y="8278"/>
                    </a:cubicBezTo>
                    <a:cubicBezTo>
                      <a:pt x="2148" y="8249"/>
                      <a:pt x="1465" y="8004"/>
                      <a:pt x="868" y="7596"/>
                    </a:cubicBezTo>
                    <a:cubicBezTo>
                      <a:pt x="820" y="10122"/>
                      <a:pt x="2291" y="12485"/>
                      <a:pt x="4421" y="13012"/>
                    </a:cubicBezTo>
                    <a:cubicBezTo>
                      <a:pt x="3798" y="13220"/>
                      <a:pt x="3115" y="13268"/>
                      <a:pt x="2421" y="13105"/>
                    </a:cubicBezTo>
                    <a:cubicBezTo>
                      <a:pt x="2984" y="15271"/>
                      <a:pt x="4621" y="16846"/>
                      <a:pt x="6560" y="16892"/>
                    </a:cubicBezTo>
                    <a:cubicBezTo>
                      <a:pt x="4697" y="18688"/>
                      <a:pt x="2351" y="19490"/>
                      <a:pt x="0" y="19149"/>
                    </a:cubicBezTo>
                    <a:cubicBezTo>
                      <a:pt x="1961" y="20697"/>
                      <a:pt x="4290" y="21599"/>
                      <a:pt x="6793" y="21599"/>
                    </a:cubicBezTo>
                    <a:cubicBezTo>
                      <a:pt x="15020" y="21599"/>
                      <a:pt x="19669" y="13049"/>
                      <a:pt x="19389" y="5379"/>
                    </a:cubicBezTo>
                    <a:cubicBezTo>
                      <a:pt x="20254" y="4610"/>
                      <a:pt x="21005" y="3650"/>
                      <a:pt x="21599" y="255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19050" tIns="19050" rIns="19050" bIns="19050" anchor="ctr"/>
              <a:lstStyle>
                <a:lvl1pPr defTabSz="457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1pPr>
                <a:lvl2pPr defTabSz="457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2pPr>
                <a:lvl3pPr defTabSz="457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3pPr>
                <a:lvl4pPr defTabSz="457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4pPr>
                <a:lvl5pPr defTabSz="457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5pPr>
                <a:lvl6pPr marL="1828800" algn="ctr" defTabSz="457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6pPr>
                <a:lvl7pPr marL="2286000" algn="ctr" defTabSz="457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7pPr>
                <a:lvl8pPr marL="2743200" algn="ctr" defTabSz="457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8pPr>
                <a:lvl9pPr marL="3200400" algn="ctr" defTabSz="457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9pPr>
              </a:lstStyle>
              <a:p>
                <a:pPr algn="ctr" eaLnBrk="1">
                  <a:defRPr/>
                </a:pPr>
                <a:endParaRPr lang="en-US" sz="1400">
                  <a:solidFill>
                    <a:schemeClr val="bg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endParaRPr>
              </a:p>
            </p:txBody>
          </p:sp>
        </p:grpSp>
        <p:sp>
          <p:nvSpPr>
            <p:cNvPr id="27" name="AutoShape 22"/>
            <p:cNvSpPr>
              <a:spLocks/>
            </p:cNvSpPr>
            <p:nvPr/>
          </p:nvSpPr>
          <p:spPr bwMode="auto">
            <a:xfrm>
              <a:off x="4839850" y="3422260"/>
              <a:ext cx="3181830" cy="219946"/>
            </a:xfrm>
            <a:custGeom>
              <a:avLst/>
              <a:gdLst>
                <a:gd name="T0" fmla="*/ 2043907 w 21600"/>
                <a:gd name="T1" fmla="*/ 330200 h 21600"/>
                <a:gd name="T2" fmla="*/ 2043907 w 21600"/>
                <a:gd name="T3" fmla="*/ 330200 h 21600"/>
                <a:gd name="T4" fmla="*/ 2043907 w 21600"/>
                <a:gd name="T5" fmla="*/ 330200 h 21600"/>
                <a:gd name="T6" fmla="*/ 2043907 w 21600"/>
                <a:gd name="T7" fmla="*/ 33020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599"/>
                  </a:lnTo>
                  <a:lnTo>
                    <a:pt x="0" y="2159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rgbClr val="000000"/>
                  </a:solidFill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5400" tIns="25400" rIns="25400" bIns="25400" anchor="ctr"/>
            <a:lstStyle>
              <a:lvl1pPr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1pPr>
              <a:lvl2pPr marL="742950" indent="-28575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2pPr>
              <a:lvl3pPr marL="11430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3pPr>
              <a:lvl4pPr marL="16002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4pPr>
              <a:lvl5pPr marL="20574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5pPr>
              <a:lvl6pPr marL="25146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6pPr>
              <a:lvl7pPr marL="29718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7pPr>
              <a:lvl8pPr marL="34290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8pPr>
              <a:lvl9pPr marL="38862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9pPr>
            </a:lstStyle>
            <a:p>
              <a:pPr algn="l"/>
              <a:r>
                <a:rPr lang="en-US" sz="1400" dirty="0">
                  <a:solidFill>
                    <a:srgbClr val="00B0F0"/>
                  </a:solidFill>
                  <a:latin typeface="Lato Light" panose="020F0302020204030203" pitchFamily="34" charset="0"/>
                  <a:ea typeface="Lato Light" panose="020F0302020204030203" pitchFamily="34" charset="0"/>
                  <a:cs typeface="Lato Light" panose="020F0302020204030203" pitchFamily="34" charset="0"/>
                  <a:sym typeface="Lato Light" panose="020F0302020204030203" pitchFamily="34" charset="0"/>
                </a:rPr>
                <a:t>twitter.com</a:t>
              </a:r>
              <a:r>
                <a:rPr lang="en-US" sz="1400" dirty="0" smtClean="0">
                  <a:solidFill>
                    <a:srgbClr val="00B0F0"/>
                  </a:solidFill>
                  <a:latin typeface="Lato Light" panose="020F0302020204030203" pitchFamily="34" charset="0"/>
                  <a:ea typeface="Lato Light" panose="020F0302020204030203" pitchFamily="34" charset="0"/>
                  <a:cs typeface="Lato Light" panose="020F0302020204030203" pitchFamily="34" charset="0"/>
                  <a:sym typeface="Lato Light" panose="020F0302020204030203" pitchFamily="34" charset="0"/>
                </a:rPr>
                <a:t>/</a:t>
              </a:r>
              <a:r>
                <a:rPr lang="es-ES" sz="1400" dirty="0">
                  <a:solidFill>
                    <a:srgbClr val="00B0F0"/>
                  </a:solidFill>
                </a:rPr>
                <a:t>@</a:t>
              </a:r>
              <a:r>
                <a:rPr lang="es-ES" sz="1400" dirty="0" err="1" smtClean="0">
                  <a:solidFill>
                    <a:srgbClr val="00B0F0"/>
                  </a:solidFill>
                </a:rPr>
                <a:t>IBQ_Villanueva</a:t>
              </a:r>
              <a:endParaRPr lang="en-US" sz="1400" dirty="0">
                <a:solidFill>
                  <a:srgbClr val="00B0F0"/>
                </a:solidFill>
              </a:endParaRPr>
            </a:p>
          </p:txBody>
        </p:sp>
      </p:grpSp>
      <p:grpSp>
        <p:nvGrpSpPr>
          <p:cNvPr id="32" name="Grupo 31"/>
          <p:cNvGrpSpPr/>
          <p:nvPr/>
        </p:nvGrpSpPr>
        <p:grpSpPr>
          <a:xfrm>
            <a:off x="5883205" y="5585415"/>
            <a:ext cx="4676908" cy="796470"/>
            <a:chOff x="3592177" y="3836646"/>
            <a:chExt cx="4676908" cy="796470"/>
          </a:xfrm>
        </p:grpSpPr>
        <p:grpSp>
          <p:nvGrpSpPr>
            <p:cNvPr id="33" name="Grupo 32"/>
            <p:cNvGrpSpPr/>
            <p:nvPr/>
          </p:nvGrpSpPr>
          <p:grpSpPr>
            <a:xfrm>
              <a:off x="3592177" y="3836646"/>
              <a:ext cx="572913" cy="623334"/>
              <a:chOff x="6765132" y="3974307"/>
              <a:chExt cx="692944" cy="800100"/>
            </a:xfrm>
          </p:grpSpPr>
          <p:sp>
            <p:nvSpPr>
              <p:cNvPr id="36" name="AutoShape 8"/>
              <p:cNvSpPr>
                <a:spLocks/>
              </p:cNvSpPr>
              <p:nvPr/>
            </p:nvSpPr>
            <p:spPr bwMode="auto">
              <a:xfrm>
                <a:off x="6765132" y="3974307"/>
                <a:ext cx="692944" cy="80010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0"/>
                    </a:moveTo>
                    <a:lnTo>
                      <a:pt x="21600" y="5400"/>
                    </a:lnTo>
                    <a:lnTo>
                      <a:pt x="21599" y="16200"/>
                    </a:lnTo>
                    <a:lnTo>
                      <a:pt x="10799" y="21599"/>
                    </a:lnTo>
                    <a:lnTo>
                      <a:pt x="0" y="16199"/>
                    </a:lnTo>
                    <a:lnTo>
                      <a:pt x="0" y="5400"/>
                    </a:lnTo>
                    <a:close/>
                  </a:path>
                </a:pathLst>
              </a:custGeom>
              <a:solidFill>
                <a:srgbClr val="EB9C2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>
                <a:lvl1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1pPr>
                <a:lvl2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2pPr>
                <a:lvl3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3pPr>
                <a:lvl4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4pPr>
                <a:lvl5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5pPr>
                <a:lvl6pPr marL="18288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6pPr>
                <a:lvl7pPr marL="22860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7pPr>
                <a:lvl8pPr marL="27432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8pPr>
                <a:lvl9pPr marL="32004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9pPr>
              </a:lstStyle>
              <a:p>
                <a:pPr algn="ctr" eaLnBrk="1">
                  <a:defRPr/>
                </a:pPr>
                <a:endParaRPr lang="en-US" sz="140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endParaRPr>
              </a:p>
            </p:txBody>
          </p:sp>
          <p:sp>
            <p:nvSpPr>
              <p:cNvPr id="37" name="AutoShape 9"/>
              <p:cNvSpPr>
                <a:spLocks/>
              </p:cNvSpPr>
              <p:nvPr/>
            </p:nvSpPr>
            <p:spPr bwMode="auto">
              <a:xfrm>
                <a:off x="6940550" y="4287838"/>
                <a:ext cx="517525" cy="459582"/>
              </a:xfrm>
              <a:custGeom>
                <a:avLst/>
                <a:gdLst>
                  <a:gd name="T0" fmla="*/ 517525 w 21600"/>
                  <a:gd name="T1" fmla="*/ 459582 h 21600"/>
                  <a:gd name="T2" fmla="*/ 517525 w 21600"/>
                  <a:gd name="T3" fmla="*/ 459582 h 21600"/>
                  <a:gd name="T4" fmla="*/ 517525 w 21600"/>
                  <a:gd name="T5" fmla="*/ 459582 h 21600"/>
                  <a:gd name="T6" fmla="*/ 517525 w 21600"/>
                  <a:gd name="T7" fmla="*/ 459582 h 2160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8967" y="21600"/>
                    </a:moveTo>
                    <a:lnTo>
                      <a:pt x="21599" y="13514"/>
                    </a:lnTo>
                    <a:lnTo>
                      <a:pt x="21523" y="4158"/>
                    </a:lnTo>
                    <a:lnTo>
                      <a:pt x="17141" y="0"/>
                    </a:lnTo>
                    <a:lnTo>
                      <a:pt x="0" y="12994"/>
                    </a:lnTo>
                    <a:lnTo>
                      <a:pt x="8967" y="21600"/>
                    </a:lnTo>
                    <a:close/>
                  </a:path>
                </a:pathLst>
              </a:custGeom>
              <a:solidFill>
                <a:srgbClr val="E3871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38" name="AutoShape 10"/>
              <p:cNvSpPr>
                <a:spLocks/>
              </p:cNvSpPr>
              <p:nvPr/>
            </p:nvSpPr>
            <p:spPr bwMode="auto">
              <a:xfrm>
                <a:off x="6864350" y="4088607"/>
                <a:ext cx="498475" cy="57546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0"/>
                    </a:moveTo>
                    <a:lnTo>
                      <a:pt x="21599" y="5400"/>
                    </a:lnTo>
                    <a:lnTo>
                      <a:pt x="21599" y="16200"/>
                    </a:lnTo>
                    <a:lnTo>
                      <a:pt x="10799" y="21599"/>
                    </a:lnTo>
                    <a:lnTo>
                      <a:pt x="0" y="16199"/>
                    </a:lnTo>
                    <a:lnTo>
                      <a:pt x="0" y="5400"/>
                    </a:lnTo>
                    <a:close/>
                  </a:path>
                </a:pathLst>
              </a:custGeom>
              <a:solidFill>
                <a:srgbClr val="EEAD57"/>
              </a:solidFill>
              <a:ln w="25400" cap="flat" cmpd="sng">
                <a:solidFill>
                  <a:srgbClr val="000000">
                    <a:alpha val="0"/>
                  </a:srgbClr>
                </a:solidFill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>
                <a:lvl1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1pPr>
                <a:lvl2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2pPr>
                <a:lvl3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3pPr>
                <a:lvl4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4pPr>
                <a:lvl5pPr defTabSz="584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5pPr>
                <a:lvl6pPr marL="18288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6pPr>
                <a:lvl7pPr marL="22860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7pPr>
                <a:lvl8pPr marL="27432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8pPr>
                <a:lvl9pPr marL="3200400" algn="ctr" defTabSz="584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9pPr>
              </a:lstStyle>
              <a:p>
                <a:pPr algn="ctr" eaLnBrk="1">
                  <a:defRPr/>
                </a:pPr>
                <a:endParaRPr lang="en-US" sz="140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endParaRPr>
              </a:p>
            </p:txBody>
          </p:sp>
          <p:sp>
            <p:nvSpPr>
              <p:cNvPr id="39" name="AutoShape 31"/>
              <p:cNvSpPr>
                <a:spLocks/>
              </p:cNvSpPr>
              <p:nvPr/>
            </p:nvSpPr>
            <p:spPr bwMode="auto">
              <a:xfrm>
                <a:off x="7032625" y="4197350"/>
                <a:ext cx="171450" cy="36195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4901" y="7061"/>
                    </a:moveTo>
                    <a:lnTo>
                      <a:pt x="0" y="7061"/>
                    </a:lnTo>
                    <a:lnTo>
                      <a:pt x="0" y="10753"/>
                    </a:lnTo>
                    <a:lnTo>
                      <a:pt x="4901" y="10753"/>
                    </a:lnTo>
                    <a:lnTo>
                      <a:pt x="4901" y="21599"/>
                    </a:lnTo>
                    <a:lnTo>
                      <a:pt x="14324" y="21599"/>
                    </a:lnTo>
                    <a:lnTo>
                      <a:pt x="14324" y="10707"/>
                    </a:lnTo>
                    <a:lnTo>
                      <a:pt x="20899" y="10707"/>
                    </a:lnTo>
                    <a:lnTo>
                      <a:pt x="21600" y="7061"/>
                    </a:lnTo>
                    <a:lnTo>
                      <a:pt x="14324" y="7061"/>
                    </a:lnTo>
                    <a:cubicBezTo>
                      <a:pt x="14324" y="7061"/>
                      <a:pt x="14324" y="5699"/>
                      <a:pt x="14324" y="4984"/>
                    </a:cubicBezTo>
                    <a:cubicBezTo>
                      <a:pt x="14324" y="4124"/>
                      <a:pt x="14700" y="3784"/>
                      <a:pt x="16501" y="3784"/>
                    </a:cubicBezTo>
                    <a:cubicBezTo>
                      <a:pt x="17950" y="3784"/>
                      <a:pt x="21600" y="3784"/>
                      <a:pt x="21600" y="3784"/>
                    </a:cubicBezTo>
                    <a:lnTo>
                      <a:pt x="21600" y="0"/>
                    </a:lnTo>
                    <a:cubicBezTo>
                      <a:pt x="21600" y="0"/>
                      <a:pt x="16224" y="0"/>
                      <a:pt x="15075" y="0"/>
                    </a:cubicBezTo>
                    <a:cubicBezTo>
                      <a:pt x="8062" y="0"/>
                      <a:pt x="4901" y="1424"/>
                      <a:pt x="4901" y="4153"/>
                    </a:cubicBezTo>
                    <a:cubicBezTo>
                      <a:pt x="4901" y="6530"/>
                      <a:pt x="4901" y="7061"/>
                      <a:pt x="4901" y="706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19050" tIns="19050" rIns="19050" bIns="19050" anchor="ctr"/>
              <a:lstStyle>
                <a:lvl1pPr defTabSz="457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1pPr>
                <a:lvl2pPr defTabSz="457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2pPr>
                <a:lvl3pPr defTabSz="457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3pPr>
                <a:lvl4pPr defTabSz="457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4pPr>
                <a:lvl5pPr defTabSz="457200"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5pPr>
                <a:lvl6pPr marL="1828800" algn="ctr" defTabSz="457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6pPr>
                <a:lvl7pPr marL="2286000" algn="ctr" defTabSz="457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7pPr>
                <a:lvl8pPr marL="2743200" algn="ctr" defTabSz="457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8pPr>
                <a:lvl9pPr marL="3200400" algn="ctr" defTabSz="457200" fontAlgn="base" hangingPunct="0">
                  <a:spcBef>
                    <a:spcPct val="0"/>
                  </a:spcBef>
                  <a:spcAft>
                    <a:spcPct val="0"/>
                  </a:spcAft>
                  <a:defRPr sz="5600">
                    <a:solidFill>
                      <a:srgbClr val="000000"/>
                    </a:solidFill>
                    <a:latin typeface="Gill Sans" charset="0"/>
                    <a:ea typeface="Gill Sans" charset="0"/>
                    <a:cs typeface="Gill Sans" charset="0"/>
                    <a:sym typeface="Gill Sans" charset="0"/>
                  </a:defRPr>
                </a:lvl9pPr>
              </a:lstStyle>
              <a:p>
                <a:pPr algn="ctr" eaLnBrk="1">
                  <a:defRPr/>
                </a:pPr>
                <a:endParaRPr lang="en-US" sz="1400">
                  <a:solidFill>
                    <a:schemeClr val="bg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endParaRPr>
              </a:p>
            </p:txBody>
          </p:sp>
        </p:grpSp>
        <p:sp>
          <p:nvSpPr>
            <p:cNvPr id="34" name="AutoShape 33"/>
            <p:cNvSpPr>
              <a:spLocks/>
            </p:cNvSpPr>
            <p:nvPr/>
          </p:nvSpPr>
          <p:spPr bwMode="auto">
            <a:xfrm>
              <a:off x="4225464" y="3899635"/>
              <a:ext cx="3963370" cy="351472"/>
            </a:xfrm>
            <a:custGeom>
              <a:avLst/>
              <a:gdLst>
                <a:gd name="T0" fmla="*/ 2273300 w 21600"/>
                <a:gd name="T1" fmla="*/ 330200 h 21600"/>
                <a:gd name="T2" fmla="*/ 2273300 w 21600"/>
                <a:gd name="T3" fmla="*/ 330200 h 21600"/>
                <a:gd name="T4" fmla="*/ 2273300 w 21600"/>
                <a:gd name="T5" fmla="*/ 330200 h 21600"/>
                <a:gd name="T6" fmla="*/ 2273300 w 21600"/>
                <a:gd name="T7" fmla="*/ 33020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599"/>
                  </a:lnTo>
                  <a:lnTo>
                    <a:pt x="0" y="2159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rgbClr val="000000"/>
                  </a:solidFill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5400" tIns="25400" rIns="25400" bIns="25400" anchor="ctr"/>
            <a:lstStyle>
              <a:lvl1pPr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1pPr>
              <a:lvl2pPr marL="742950" indent="-28575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2pPr>
              <a:lvl3pPr marL="11430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3pPr>
              <a:lvl4pPr marL="16002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4pPr>
              <a:lvl5pPr marL="20574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5pPr>
              <a:lvl6pPr marL="25146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6pPr>
              <a:lvl7pPr marL="29718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7pPr>
              <a:lvl8pPr marL="34290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8pPr>
              <a:lvl9pPr marL="38862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9pPr>
            </a:lstStyle>
            <a:p>
              <a:pPr algn="l" eaLnBrk="1"/>
              <a:r>
                <a:rPr lang="en-US" sz="1400" dirty="0" smtClean="0">
                  <a:solidFill>
                    <a:srgbClr val="00B0F0"/>
                  </a:solidFill>
                  <a:latin typeface="Lato Light" panose="020F0302020204030203" pitchFamily="34" charset="0"/>
                  <a:ea typeface="Lato Light" panose="020F0302020204030203" pitchFamily="34" charset="0"/>
                  <a:cs typeface="Lato Light" panose="020F0302020204030203" pitchFamily="34" charset="0"/>
                  <a:sym typeface="Lato Light" panose="020F0302020204030203" pitchFamily="34" charset="0"/>
                </a:rPr>
                <a:t>facebook.com/</a:t>
              </a:r>
              <a:r>
                <a:rPr lang="en-US" sz="1400" dirty="0" err="1" smtClean="0">
                  <a:solidFill>
                    <a:srgbClr val="00B0F0"/>
                  </a:solidFill>
                  <a:latin typeface="Lato Light" panose="020F0302020204030203" pitchFamily="34" charset="0"/>
                  <a:ea typeface="Lato Light" panose="020F0302020204030203" pitchFamily="34" charset="0"/>
                  <a:cs typeface="Lato Light" panose="020F0302020204030203" pitchFamily="34" charset="0"/>
                  <a:sym typeface="Lato Light" panose="020F0302020204030203" pitchFamily="34" charset="0"/>
                </a:rPr>
                <a:t>Ibq</a:t>
              </a:r>
              <a:r>
                <a:rPr lang="en-US" sz="1400" dirty="0" smtClean="0">
                  <a:solidFill>
                    <a:srgbClr val="00B0F0"/>
                  </a:solidFill>
                  <a:latin typeface="Lato Light" panose="020F0302020204030203" pitchFamily="34" charset="0"/>
                  <a:ea typeface="Lato Light" panose="020F0302020204030203" pitchFamily="34" charset="0"/>
                  <a:cs typeface="Lato Light" panose="020F0302020204030203" pitchFamily="34" charset="0"/>
                  <a:sym typeface="Lato Light" panose="020F0302020204030203" pitchFamily="34" charset="0"/>
                </a:rPr>
                <a:t> Román </a:t>
              </a:r>
              <a:r>
                <a:rPr lang="en-US" sz="1400" dirty="0" err="1" smtClean="0">
                  <a:solidFill>
                    <a:srgbClr val="00B0F0"/>
                  </a:solidFill>
                  <a:latin typeface="Lato Light" panose="020F0302020204030203" pitchFamily="34" charset="0"/>
                  <a:ea typeface="Lato Light" panose="020F0302020204030203" pitchFamily="34" charset="0"/>
                  <a:cs typeface="Lato Light" panose="020F0302020204030203" pitchFamily="34" charset="0"/>
                  <a:sym typeface="Lato Light" panose="020F0302020204030203" pitchFamily="34" charset="0"/>
                </a:rPr>
                <a:t>Domínguez</a:t>
              </a:r>
              <a:endParaRPr lang="en-US" sz="1400" dirty="0">
                <a:solidFill>
                  <a:srgbClr val="00B0F0"/>
                </a:solidFill>
              </a:endParaRPr>
            </a:p>
          </p:txBody>
        </p:sp>
        <p:sp>
          <p:nvSpPr>
            <p:cNvPr id="35" name="AutoShape 33"/>
            <p:cNvSpPr>
              <a:spLocks/>
            </p:cNvSpPr>
            <p:nvPr/>
          </p:nvSpPr>
          <p:spPr bwMode="auto">
            <a:xfrm>
              <a:off x="4225128" y="4228000"/>
              <a:ext cx="4043957" cy="405116"/>
            </a:xfrm>
            <a:custGeom>
              <a:avLst/>
              <a:gdLst>
                <a:gd name="T0" fmla="*/ 2273300 w 21600"/>
                <a:gd name="T1" fmla="*/ 330200 h 21600"/>
                <a:gd name="T2" fmla="*/ 2273300 w 21600"/>
                <a:gd name="T3" fmla="*/ 330200 h 21600"/>
                <a:gd name="T4" fmla="*/ 2273300 w 21600"/>
                <a:gd name="T5" fmla="*/ 330200 h 21600"/>
                <a:gd name="T6" fmla="*/ 2273300 w 21600"/>
                <a:gd name="T7" fmla="*/ 33020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599"/>
                  </a:lnTo>
                  <a:lnTo>
                    <a:pt x="0" y="2159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rgbClr val="000000"/>
                  </a:solidFill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5400" tIns="25400" rIns="25400" bIns="25400" anchor="ctr"/>
            <a:lstStyle>
              <a:lvl1pPr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1pPr>
              <a:lvl2pPr marL="742950" indent="-28575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2pPr>
              <a:lvl3pPr marL="11430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3pPr>
              <a:lvl4pPr marL="16002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4pPr>
              <a:lvl5pPr marL="2057400" indent="-228600" algn="ctr"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5pPr>
              <a:lvl6pPr marL="25146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6pPr>
              <a:lvl7pPr marL="29718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7pPr>
              <a:lvl8pPr marL="34290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8pPr>
              <a:lvl9pPr marL="3886200" indent="-228600" algn="ctr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5600">
                  <a:solidFill>
                    <a:srgbClr val="000000"/>
                  </a:solidFill>
                  <a:latin typeface="Gill Sans" charset="0"/>
                  <a:ea typeface="Gill Sans" charset="0"/>
                  <a:cs typeface="Gill Sans" charset="0"/>
                  <a:sym typeface="Gill Sans" charset="0"/>
                </a:defRPr>
              </a:lvl9pPr>
            </a:lstStyle>
            <a:p>
              <a:pPr algn="l" eaLnBrk="1"/>
              <a:r>
                <a:rPr lang="en-US" sz="1400" dirty="0" smtClean="0">
                  <a:solidFill>
                    <a:srgbClr val="00B0F0"/>
                  </a:solidFill>
                  <a:latin typeface="Lato Light" panose="020F0302020204030203" pitchFamily="34" charset="0"/>
                  <a:ea typeface="Lato Light" panose="020F0302020204030203" pitchFamily="34" charset="0"/>
                  <a:cs typeface="Lato Light" panose="020F0302020204030203" pitchFamily="34" charset="0"/>
                  <a:sym typeface="Lato Light" panose="020F0302020204030203" pitchFamily="34" charset="0"/>
                </a:rPr>
                <a:t>facebook.com/</a:t>
              </a:r>
              <a:r>
                <a:rPr lang="en-US" sz="1400" dirty="0" err="1" smtClean="0">
                  <a:solidFill>
                    <a:srgbClr val="00B0F0"/>
                  </a:solidFill>
                  <a:latin typeface="Lato Light" panose="020F0302020204030203" pitchFamily="34" charset="0"/>
                  <a:ea typeface="Lato Light" panose="020F0302020204030203" pitchFamily="34" charset="0"/>
                  <a:cs typeface="Lato Light" panose="020F0302020204030203" pitchFamily="34" charset="0"/>
                  <a:sym typeface="Lato Light" panose="020F0302020204030203" pitchFamily="34" charset="0"/>
                </a:rPr>
                <a:t>Ing</a:t>
              </a:r>
              <a:r>
                <a:rPr lang="en-US" sz="1400" dirty="0" smtClean="0">
                  <a:solidFill>
                    <a:srgbClr val="00B0F0"/>
                  </a:solidFill>
                  <a:latin typeface="Lato Light" panose="020F0302020204030203" pitchFamily="34" charset="0"/>
                  <a:ea typeface="Lato Light" panose="020F0302020204030203" pitchFamily="34" charset="0"/>
                  <a:cs typeface="Lato Light" panose="020F0302020204030203" pitchFamily="34" charset="0"/>
                  <a:sym typeface="Lato Light" panose="020F0302020204030203" pitchFamily="34" charset="0"/>
                </a:rPr>
                <a:t> Villanueva Vazquez</a:t>
              </a:r>
              <a:endParaRPr lang="en-US" sz="1400" dirty="0">
                <a:solidFill>
                  <a:srgbClr val="00B0F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3809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Shape 630"/>
          <p:cNvSpPr/>
          <p:nvPr/>
        </p:nvSpPr>
        <p:spPr>
          <a:xfrm>
            <a:off x="1076324" y="1668987"/>
            <a:ext cx="10039349" cy="4782524"/>
          </a:xfrm>
          <a:custGeom>
            <a:avLst/>
            <a:gdLst/>
            <a:ahLst/>
            <a:cxnLst/>
            <a:rect l="0" t="0" r="0" b="0"/>
            <a:pathLst>
              <a:path w="285750" h="136125" extrusionOk="0">
                <a:moveTo>
                  <a:pt x="74830" y="1313"/>
                </a:moveTo>
                <a:lnTo>
                  <a:pt x="74352" y="1330"/>
                </a:lnTo>
                <a:lnTo>
                  <a:pt x="74864" y="1330"/>
                </a:lnTo>
                <a:lnTo>
                  <a:pt x="74830" y="1313"/>
                </a:lnTo>
                <a:close/>
                <a:moveTo>
                  <a:pt x="77830" y="1739"/>
                </a:moveTo>
                <a:lnTo>
                  <a:pt x="77830" y="1739"/>
                </a:lnTo>
                <a:lnTo>
                  <a:pt x="77830" y="1739"/>
                </a:lnTo>
                <a:close/>
                <a:moveTo>
                  <a:pt x="176011" y="1432"/>
                </a:moveTo>
                <a:lnTo>
                  <a:pt x="176114" y="1636"/>
                </a:lnTo>
                <a:lnTo>
                  <a:pt x="175500" y="1841"/>
                </a:lnTo>
                <a:lnTo>
                  <a:pt x="175807" y="1943"/>
                </a:lnTo>
                <a:lnTo>
                  <a:pt x="178875" y="1943"/>
                </a:lnTo>
                <a:lnTo>
                  <a:pt x="178773" y="1636"/>
                </a:lnTo>
                <a:lnTo>
                  <a:pt x="176011" y="1432"/>
                </a:lnTo>
                <a:close/>
                <a:moveTo>
                  <a:pt x="135102" y="1841"/>
                </a:moveTo>
                <a:lnTo>
                  <a:pt x="134898" y="1943"/>
                </a:lnTo>
                <a:lnTo>
                  <a:pt x="135102" y="2045"/>
                </a:lnTo>
                <a:lnTo>
                  <a:pt x="134489" y="2045"/>
                </a:lnTo>
                <a:lnTo>
                  <a:pt x="134795" y="2148"/>
                </a:lnTo>
                <a:lnTo>
                  <a:pt x="134489" y="2148"/>
                </a:lnTo>
                <a:lnTo>
                  <a:pt x="135920" y="2352"/>
                </a:lnTo>
                <a:lnTo>
                  <a:pt x="135307" y="2455"/>
                </a:lnTo>
                <a:lnTo>
                  <a:pt x="137148" y="2557"/>
                </a:lnTo>
                <a:lnTo>
                  <a:pt x="137148" y="2659"/>
                </a:lnTo>
                <a:lnTo>
                  <a:pt x="139500" y="2148"/>
                </a:lnTo>
                <a:lnTo>
                  <a:pt x="137148" y="2045"/>
                </a:lnTo>
                <a:lnTo>
                  <a:pt x="137250" y="1841"/>
                </a:lnTo>
                <a:lnTo>
                  <a:pt x="136739" y="1841"/>
                </a:lnTo>
                <a:lnTo>
                  <a:pt x="136739" y="2045"/>
                </a:lnTo>
                <a:lnTo>
                  <a:pt x="135102" y="1841"/>
                </a:lnTo>
                <a:close/>
                <a:moveTo>
                  <a:pt x="178466" y="2045"/>
                </a:moveTo>
                <a:lnTo>
                  <a:pt x="177443" y="2148"/>
                </a:lnTo>
                <a:lnTo>
                  <a:pt x="177136" y="2455"/>
                </a:lnTo>
                <a:lnTo>
                  <a:pt x="181534" y="2864"/>
                </a:lnTo>
                <a:lnTo>
                  <a:pt x="181534" y="2864"/>
                </a:lnTo>
                <a:lnTo>
                  <a:pt x="180716" y="2659"/>
                </a:lnTo>
                <a:lnTo>
                  <a:pt x="181023" y="2659"/>
                </a:lnTo>
                <a:lnTo>
                  <a:pt x="180818" y="2250"/>
                </a:lnTo>
                <a:lnTo>
                  <a:pt x="178466" y="2045"/>
                </a:lnTo>
                <a:close/>
                <a:moveTo>
                  <a:pt x="75068" y="3170"/>
                </a:moveTo>
                <a:lnTo>
                  <a:pt x="74870" y="3225"/>
                </a:lnTo>
                <a:lnTo>
                  <a:pt x="75022" y="3201"/>
                </a:lnTo>
                <a:lnTo>
                  <a:pt x="75022" y="3201"/>
                </a:lnTo>
                <a:lnTo>
                  <a:pt x="75068" y="3170"/>
                </a:lnTo>
                <a:close/>
                <a:moveTo>
                  <a:pt x="72920" y="1227"/>
                </a:moveTo>
                <a:lnTo>
                  <a:pt x="72102" y="1330"/>
                </a:lnTo>
                <a:lnTo>
                  <a:pt x="72511" y="1330"/>
                </a:lnTo>
                <a:lnTo>
                  <a:pt x="70977" y="1534"/>
                </a:lnTo>
                <a:lnTo>
                  <a:pt x="71591" y="1739"/>
                </a:lnTo>
                <a:lnTo>
                  <a:pt x="70364" y="1739"/>
                </a:lnTo>
                <a:lnTo>
                  <a:pt x="70568" y="1841"/>
                </a:lnTo>
                <a:lnTo>
                  <a:pt x="70057" y="1943"/>
                </a:lnTo>
                <a:lnTo>
                  <a:pt x="71080" y="2045"/>
                </a:lnTo>
                <a:lnTo>
                  <a:pt x="69648" y="2045"/>
                </a:lnTo>
                <a:lnTo>
                  <a:pt x="69750" y="2352"/>
                </a:lnTo>
                <a:lnTo>
                  <a:pt x="70670" y="2352"/>
                </a:lnTo>
                <a:lnTo>
                  <a:pt x="69545" y="2557"/>
                </a:lnTo>
                <a:lnTo>
                  <a:pt x="70568" y="2557"/>
                </a:lnTo>
                <a:lnTo>
                  <a:pt x="70466" y="2659"/>
                </a:lnTo>
                <a:lnTo>
                  <a:pt x="72102" y="2557"/>
                </a:lnTo>
                <a:lnTo>
                  <a:pt x="70773" y="2761"/>
                </a:lnTo>
                <a:lnTo>
                  <a:pt x="70466" y="2966"/>
                </a:lnTo>
                <a:lnTo>
                  <a:pt x="70159" y="3068"/>
                </a:lnTo>
                <a:lnTo>
                  <a:pt x="70977" y="3170"/>
                </a:lnTo>
                <a:lnTo>
                  <a:pt x="70364" y="3273"/>
                </a:lnTo>
                <a:lnTo>
                  <a:pt x="72102" y="3477"/>
                </a:lnTo>
                <a:lnTo>
                  <a:pt x="72102" y="3170"/>
                </a:lnTo>
                <a:lnTo>
                  <a:pt x="72307" y="3273"/>
                </a:lnTo>
                <a:lnTo>
                  <a:pt x="73330" y="3170"/>
                </a:lnTo>
                <a:lnTo>
                  <a:pt x="73227" y="3068"/>
                </a:lnTo>
                <a:lnTo>
                  <a:pt x="73739" y="2864"/>
                </a:lnTo>
                <a:lnTo>
                  <a:pt x="73432" y="3068"/>
                </a:lnTo>
                <a:lnTo>
                  <a:pt x="75580" y="2557"/>
                </a:lnTo>
                <a:lnTo>
                  <a:pt x="74557" y="2455"/>
                </a:lnTo>
                <a:lnTo>
                  <a:pt x="74659" y="2045"/>
                </a:lnTo>
                <a:lnTo>
                  <a:pt x="74966" y="1841"/>
                </a:lnTo>
                <a:lnTo>
                  <a:pt x="74352" y="1943"/>
                </a:lnTo>
                <a:lnTo>
                  <a:pt x="74455" y="2045"/>
                </a:lnTo>
                <a:lnTo>
                  <a:pt x="73534" y="1739"/>
                </a:lnTo>
                <a:lnTo>
                  <a:pt x="73534" y="1636"/>
                </a:lnTo>
                <a:lnTo>
                  <a:pt x="72920" y="1227"/>
                </a:lnTo>
                <a:close/>
                <a:moveTo>
                  <a:pt x="74870" y="3225"/>
                </a:moveTo>
                <a:lnTo>
                  <a:pt x="73227" y="3477"/>
                </a:lnTo>
                <a:lnTo>
                  <a:pt x="74301" y="3380"/>
                </a:lnTo>
                <a:lnTo>
                  <a:pt x="74301" y="3380"/>
                </a:lnTo>
                <a:lnTo>
                  <a:pt x="74870" y="3225"/>
                </a:lnTo>
                <a:close/>
                <a:moveTo>
                  <a:pt x="74352" y="3375"/>
                </a:moveTo>
                <a:lnTo>
                  <a:pt x="74301" y="3380"/>
                </a:lnTo>
                <a:lnTo>
                  <a:pt x="74301" y="3380"/>
                </a:lnTo>
                <a:lnTo>
                  <a:pt x="73943" y="3477"/>
                </a:lnTo>
                <a:lnTo>
                  <a:pt x="74352" y="3375"/>
                </a:lnTo>
                <a:close/>
                <a:moveTo>
                  <a:pt x="182148" y="2557"/>
                </a:moveTo>
                <a:lnTo>
                  <a:pt x="182250" y="2966"/>
                </a:lnTo>
                <a:lnTo>
                  <a:pt x="182148" y="3170"/>
                </a:lnTo>
                <a:lnTo>
                  <a:pt x="182045" y="3580"/>
                </a:lnTo>
                <a:lnTo>
                  <a:pt x="185114" y="3170"/>
                </a:lnTo>
                <a:lnTo>
                  <a:pt x="183682" y="2761"/>
                </a:lnTo>
                <a:lnTo>
                  <a:pt x="183170" y="2864"/>
                </a:lnTo>
                <a:lnTo>
                  <a:pt x="182966" y="2761"/>
                </a:lnTo>
                <a:lnTo>
                  <a:pt x="183068" y="2659"/>
                </a:lnTo>
                <a:lnTo>
                  <a:pt x="182455" y="2557"/>
                </a:lnTo>
                <a:lnTo>
                  <a:pt x="182455" y="2557"/>
                </a:lnTo>
                <a:lnTo>
                  <a:pt x="182557" y="2659"/>
                </a:lnTo>
                <a:lnTo>
                  <a:pt x="182148" y="2557"/>
                </a:lnTo>
                <a:close/>
                <a:moveTo>
                  <a:pt x="64739" y="2557"/>
                </a:moveTo>
                <a:lnTo>
                  <a:pt x="63614" y="2864"/>
                </a:lnTo>
                <a:lnTo>
                  <a:pt x="64023" y="2864"/>
                </a:lnTo>
                <a:lnTo>
                  <a:pt x="63716" y="2966"/>
                </a:lnTo>
                <a:lnTo>
                  <a:pt x="63716" y="2966"/>
                </a:lnTo>
                <a:lnTo>
                  <a:pt x="64432" y="2864"/>
                </a:lnTo>
                <a:lnTo>
                  <a:pt x="64125" y="2966"/>
                </a:lnTo>
                <a:lnTo>
                  <a:pt x="64534" y="3068"/>
                </a:lnTo>
                <a:lnTo>
                  <a:pt x="64125" y="3068"/>
                </a:lnTo>
                <a:lnTo>
                  <a:pt x="64330" y="3170"/>
                </a:lnTo>
                <a:lnTo>
                  <a:pt x="63511" y="3375"/>
                </a:lnTo>
                <a:lnTo>
                  <a:pt x="65352" y="3477"/>
                </a:lnTo>
                <a:lnTo>
                  <a:pt x="65352" y="3580"/>
                </a:lnTo>
                <a:lnTo>
                  <a:pt x="66068" y="3682"/>
                </a:lnTo>
                <a:lnTo>
                  <a:pt x="66273" y="3375"/>
                </a:lnTo>
                <a:lnTo>
                  <a:pt x="66580" y="3170"/>
                </a:lnTo>
                <a:lnTo>
                  <a:pt x="65966" y="2966"/>
                </a:lnTo>
                <a:lnTo>
                  <a:pt x="66068" y="2864"/>
                </a:lnTo>
                <a:lnTo>
                  <a:pt x="65148" y="2966"/>
                </a:lnTo>
                <a:lnTo>
                  <a:pt x="65148" y="2864"/>
                </a:lnTo>
                <a:lnTo>
                  <a:pt x="64739" y="2557"/>
                </a:lnTo>
                <a:close/>
                <a:moveTo>
                  <a:pt x="67705" y="2966"/>
                </a:moveTo>
                <a:lnTo>
                  <a:pt x="67295" y="3273"/>
                </a:lnTo>
                <a:lnTo>
                  <a:pt x="67705" y="3477"/>
                </a:lnTo>
                <a:lnTo>
                  <a:pt x="67398" y="3682"/>
                </a:lnTo>
                <a:lnTo>
                  <a:pt x="69136" y="3273"/>
                </a:lnTo>
                <a:lnTo>
                  <a:pt x="67705" y="2966"/>
                </a:lnTo>
                <a:close/>
                <a:moveTo>
                  <a:pt x="136943" y="3170"/>
                </a:moveTo>
                <a:lnTo>
                  <a:pt x="135818" y="3273"/>
                </a:lnTo>
                <a:lnTo>
                  <a:pt x="136841" y="3682"/>
                </a:lnTo>
                <a:lnTo>
                  <a:pt x="136432" y="3886"/>
                </a:lnTo>
                <a:lnTo>
                  <a:pt x="137557" y="3886"/>
                </a:lnTo>
                <a:lnTo>
                  <a:pt x="137352" y="3989"/>
                </a:lnTo>
                <a:lnTo>
                  <a:pt x="137761" y="4091"/>
                </a:lnTo>
                <a:lnTo>
                  <a:pt x="138784" y="3784"/>
                </a:lnTo>
                <a:lnTo>
                  <a:pt x="137659" y="3477"/>
                </a:lnTo>
                <a:lnTo>
                  <a:pt x="137761" y="3477"/>
                </a:lnTo>
                <a:lnTo>
                  <a:pt x="137148" y="3375"/>
                </a:lnTo>
                <a:lnTo>
                  <a:pt x="136943" y="3170"/>
                </a:lnTo>
                <a:close/>
                <a:moveTo>
                  <a:pt x="131114" y="2250"/>
                </a:moveTo>
                <a:lnTo>
                  <a:pt x="131114" y="2352"/>
                </a:lnTo>
                <a:lnTo>
                  <a:pt x="130295" y="2352"/>
                </a:lnTo>
                <a:lnTo>
                  <a:pt x="131318" y="2864"/>
                </a:lnTo>
                <a:lnTo>
                  <a:pt x="130705" y="2864"/>
                </a:lnTo>
                <a:lnTo>
                  <a:pt x="131625" y="3375"/>
                </a:lnTo>
                <a:lnTo>
                  <a:pt x="132648" y="3273"/>
                </a:lnTo>
                <a:lnTo>
                  <a:pt x="132545" y="3170"/>
                </a:lnTo>
                <a:lnTo>
                  <a:pt x="132545" y="3068"/>
                </a:lnTo>
                <a:lnTo>
                  <a:pt x="132955" y="3068"/>
                </a:lnTo>
                <a:lnTo>
                  <a:pt x="133261" y="3273"/>
                </a:lnTo>
                <a:lnTo>
                  <a:pt x="133875" y="3068"/>
                </a:lnTo>
                <a:lnTo>
                  <a:pt x="133670" y="3170"/>
                </a:lnTo>
                <a:lnTo>
                  <a:pt x="134080" y="3273"/>
                </a:lnTo>
                <a:lnTo>
                  <a:pt x="132443" y="3580"/>
                </a:lnTo>
                <a:lnTo>
                  <a:pt x="132750" y="3784"/>
                </a:lnTo>
                <a:lnTo>
                  <a:pt x="134080" y="3784"/>
                </a:lnTo>
                <a:lnTo>
                  <a:pt x="132545" y="4091"/>
                </a:lnTo>
                <a:lnTo>
                  <a:pt x="134284" y="4602"/>
                </a:lnTo>
                <a:lnTo>
                  <a:pt x="134386" y="4398"/>
                </a:lnTo>
                <a:lnTo>
                  <a:pt x="134284" y="4295"/>
                </a:lnTo>
                <a:lnTo>
                  <a:pt x="134898" y="3886"/>
                </a:lnTo>
                <a:lnTo>
                  <a:pt x="134898" y="3580"/>
                </a:lnTo>
                <a:lnTo>
                  <a:pt x="135205" y="3477"/>
                </a:lnTo>
                <a:lnTo>
                  <a:pt x="135511" y="3170"/>
                </a:lnTo>
                <a:lnTo>
                  <a:pt x="136432" y="3068"/>
                </a:lnTo>
                <a:lnTo>
                  <a:pt x="135920" y="2864"/>
                </a:lnTo>
                <a:lnTo>
                  <a:pt x="136023" y="2761"/>
                </a:lnTo>
                <a:lnTo>
                  <a:pt x="134795" y="2659"/>
                </a:lnTo>
                <a:lnTo>
                  <a:pt x="134795" y="2455"/>
                </a:lnTo>
                <a:lnTo>
                  <a:pt x="134182" y="2557"/>
                </a:lnTo>
                <a:lnTo>
                  <a:pt x="134386" y="2352"/>
                </a:lnTo>
                <a:lnTo>
                  <a:pt x="133261" y="2250"/>
                </a:lnTo>
                <a:lnTo>
                  <a:pt x="133261" y="2250"/>
                </a:lnTo>
                <a:lnTo>
                  <a:pt x="133568" y="2864"/>
                </a:lnTo>
                <a:lnTo>
                  <a:pt x="133568" y="2864"/>
                </a:lnTo>
                <a:lnTo>
                  <a:pt x="132750" y="2455"/>
                </a:lnTo>
                <a:lnTo>
                  <a:pt x="131318" y="2455"/>
                </a:lnTo>
                <a:lnTo>
                  <a:pt x="131932" y="2250"/>
                </a:lnTo>
                <a:close/>
                <a:moveTo>
                  <a:pt x="66682" y="4398"/>
                </a:moveTo>
                <a:lnTo>
                  <a:pt x="66784" y="4500"/>
                </a:lnTo>
                <a:lnTo>
                  <a:pt x="66477" y="4500"/>
                </a:lnTo>
                <a:lnTo>
                  <a:pt x="67091" y="4705"/>
                </a:lnTo>
                <a:lnTo>
                  <a:pt x="66784" y="4705"/>
                </a:lnTo>
                <a:lnTo>
                  <a:pt x="68232" y="4795"/>
                </a:lnTo>
                <a:lnTo>
                  <a:pt x="68232" y="4795"/>
                </a:lnTo>
                <a:lnTo>
                  <a:pt x="68625" y="4500"/>
                </a:lnTo>
                <a:lnTo>
                  <a:pt x="66682" y="4398"/>
                </a:lnTo>
                <a:close/>
                <a:moveTo>
                  <a:pt x="68232" y="4795"/>
                </a:moveTo>
                <a:lnTo>
                  <a:pt x="68216" y="4807"/>
                </a:lnTo>
                <a:lnTo>
                  <a:pt x="68324" y="4801"/>
                </a:lnTo>
                <a:lnTo>
                  <a:pt x="68324" y="4801"/>
                </a:lnTo>
                <a:lnTo>
                  <a:pt x="68232" y="4795"/>
                </a:lnTo>
                <a:close/>
                <a:moveTo>
                  <a:pt x="71489" y="4500"/>
                </a:moveTo>
                <a:lnTo>
                  <a:pt x="70568" y="4705"/>
                </a:lnTo>
                <a:lnTo>
                  <a:pt x="71080" y="4807"/>
                </a:lnTo>
                <a:lnTo>
                  <a:pt x="71489" y="4500"/>
                </a:lnTo>
                <a:close/>
                <a:moveTo>
                  <a:pt x="81102" y="205"/>
                </a:moveTo>
                <a:lnTo>
                  <a:pt x="81614" y="409"/>
                </a:lnTo>
                <a:lnTo>
                  <a:pt x="80386" y="307"/>
                </a:lnTo>
                <a:lnTo>
                  <a:pt x="80489" y="409"/>
                </a:lnTo>
                <a:lnTo>
                  <a:pt x="79773" y="409"/>
                </a:lnTo>
                <a:lnTo>
                  <a:pt x="79977" y="511"/>
                </a:lnTo>
                <a:lnTo>
                  <a:pt x="79466" y="511"/>
                </a:lnTo>
                <a:lnTo>
                  <a:pt x="80693" y="920"/>
                </a:lnTo>
                <a:lnTo>
                  <a:pt x="80693" y="920"/>
                </a:lnTo>
                <a:lnTo>
                  <a:pt x="79159" y="716"/>
                </a:lnTo>
                <a:lnTo>
                  <a:pt x="77011" y="716"/>
                </a:lnTo>
                <a:lnTo>
                  <a:pt x="77727" y="818"/>
                </a:lnTo>
                <a:lnTo>
                  <a:pt x="73841" y="1023"/>
                </a:lnTo>
                <a:lnTo>
                  <a:pt x="73943" y="1125"/>
                </a:lnTo>
                <a:lnTo>
                  <a:pt x="74864" y="1023"/>
                </a:lnTo>
                <a:lnTo>
                  <a:pt x="74864" y="1023"/>
                </a:lnTo>
                <a:lnTo>
                  <a:pt x="74250" y="1125"/>
                </a:lnTo>
                <a:lnTo>
                  <a:pt x="75989" y="1125"/>
                </a:lnTo>
                <a:lnTo>
                  <a:pt x="74659" y="1227"/>
                </a:lnTo>
                <a:lnTo>
                  <a:pt x="74830" y="1313"/>
                </a:lnTo>
                <a:lnTo>
                  <a:pt x="74830" y="1313"/>
                </a:lnTo>
                <a:lnTo>
                  <a:pt x="77216" y="1227"/>
                </a:lnTo>
                <a:lnTo>
                  <a:pt x="74557" y="1534"/>
                </a:lnTo>
                <a:lnTo>
                  <a:pt x="74557" y="1534"/>
                </a:lnTo>
                <a:lnTo>
                  <a:pt x="78034" y="1330"/>
                </a:lnTo>
                <a:lnTo>
                  <a:pt x="75784" y="1739"/>
                </a:lnTo>
                <a:lnTo>
                  <a:pt x="75784" y="1739"/>
                </a:lnTo>
                <a:lnTo>
                  <a:pt x="78341" y="1636"/>
                </a:lnTo>
                <a:lnTo>
                  <a:pt x="78341" y="1636"/>
                </a:lnTo>
                <a:lnTo>
                  <a:pt x="77830" y="1739"/>
                </a:lnTo>
                <a:lnTo>
                  <a:pt x="81818" y="1125"/>
                </a:lnTo>
                <a:lnTo>
                  <a:pt x="81818" y="1125"/>
                </a:lnTo>
                <a:lnTo>
                  <a:pt x="80386" y="1534"/>
                </a:lnTo>
                <a:lnTo>
                  <a:pt x="81409" y="1534"/>
                </a:lnTo>
                <a:lnTo>
                  <a:pt x="77523" y="1943"/>
                </a:lnTo>
                <a:lnTo>
                  <a:pt x="78648" y="2352"/>
                </a:lnTo>
                <a:lnTo>
                  <a:pt x="78648" y="2352"/>
                </a:lnTo>
                <a:lnTo>
                  <a:pt x="75375" y="2045"/>
                </a:lnTo>
                <a:lnTo>
                  <a:pt x="75375" y="2352"/>
                </a:lnTo>
                <a:lnTo>
                  <a:pt x="76193" y="2761"/>
                </a:lnTo>
                <a:lnTo>
                  <a:pt x="75682" y="2761"/>
                </a:lnTo>
                <a:lnTo>
                  <a:pt x="77216" y="2864"/>
                </a:lnTo>
                <a:lnTo>
                  <a:pt x="75022" y="3201"/>
                </a:lnTo>
                <a:lnTo>
                  <a:pt x="75022" y="3201"/>
                </a:lnTo>
                <a:lnTo>
                  <a:pt x="74761" y="3375"/>
                </a:lnTo>
                <a:lnTo>
                  <a:pt x="75170" y="3477"/>
                </a:lnTo>
                <a:lnTo>
                  <a:pt x="74148" y="3682"/>
                </a:lnTo>
                <a:lnTo>
                  <a:pt x="74045" y="3886"/>
                </a:lnTo>
                <a:lnTo>
                  <a:pt x="75989" y="3580"/>
                </a:lnTo>
                <a:lnTo>
                  <a:pt x="73739" y="3989"/>
                </a:lnTo>
                <a:lnTo>
                  <a:pt x="73432" y="3682"/>
                </a:lnTo>
                <a:lnTo>
                  <a:pt x="72716" y="3682"/>
                </a:lnTo>
                <a:lnTo>
                  <a:pt x="72818" y="4193"/>
                </a:lnTo>
                <a:lnTo>
                  <a:pt x="71489" y="4500"/>
                </a:lnTo>
                <a:lnTo>
                  <a:pt x="71489" y="4500"/>
                </a:lnTo>
                <a:lnTo>
                  <a:pt x="71489" y="4500"/>
                </a:lnTo>
                <a:lnTo>
                  <a:pt x="71284" y="4807"/>
                </a:lnTo>
                <a:lnTo>
                  <a:pt x="71898" y="4705"/>
                </a:lnTo>
                <a:lnTo>
                  <a:pt x="71898" y="4807"/>
                </a:lnTo>
                <a:lnTo>
                  <a:pt x="75784" y="4807"/>
                </a:lnTo>
                <a:lnTo>
                  <a:pt x="75477" y="5011"/>
                </a:lnTo>
                <a:lnTo>
                  <a:pt x="75477" y="5011"/>
                </a:lnTo>
                <a:lnTo>
                  <a:pt x="77318" y="4705"/>
                </a:lnTo>
                <a:lnTo>
                  <a:pt x="77727" y="4398"/>
                </a:lnTo>
                <a:lnTo>
                  <a:pt x="77114" y="4398"/>
                </a:lnTo>
                <a:lnTo>
                  <a:pt x="77216" y="4193"/>
                </a:lnTo>
                <a:lnTo>
                  <a:pt x="75682" y="4091"/>
                </a:lnTo>
                <a:lnTo>
                  <a:pt x="76193" y="4091"/>
                </a:lnTo>
                <a:lnTo>
                  <a:pt x="76091" y="3989"/>
                </a:lnTo>
                <a:lnTo>
                  <a:pt x="78341" y="3886"/>
                </a:lnTo>
                <a:lnTo>
                  <a:pt x="78545" y="3580"/>
                </a:lnTo>
                <a:lnTo>
                  <a:pt x="80489" y="3375"/>
                </a:lnTo>
                <a:lnTo>
                  <a:pt x="79977" y="3170"/>
                </a:lnTo>
                <a:lnTo>
                  <a:pt x="81205" y="3068"/>
                </a:lnTo>
                <a:lnTo>
                  <a:pt x="79159" y="2761"/>
                </a:lnTo>
                <a:lnTo>
                  <a:pt x="81614" y="2659"/>
                </a:lnTo>
                <a:lnTo>
                  <a:pt x="80386" y="2455"/>
                </a:lnTo>
                <a:lnTo>
                  <a:pt x="82534" y="2352"/>
                </a:lnTo>
                <a:lnTo>
                  <a:pt x="81920" y="2250"/>
                </a:lnTo>
                <a:lnTo>
                  <a:pt x="83966" y="2250"/>
                </a:lnTo>
                <a:lnTo>
                  <a:pt x="83864" y="2148"/>
                </a:lnTo>
                <a:lnTo>
                  <a:pt x="84375" y="2045"/>
                </a:lnTo>
                <a:lnTo>
                  <a:pt x="83557" y="2045"/>
                </a:lnTo>
                <a:lnTo>
                  <a:pt x="84682" y="1943"/>
                </a:lnTo>
                <a:lnTo>
                  <a:pt x="84580" y="1739"/>
                </a:lnTo>
                <a:lnTo>
                  <a:pt x="88466" y="1125"/>
                </a:lnTo>
                <a:lnTo>
                  <a:pt x="86216" y="1330"/>
                </a:lnTo>
                <a:lnTo>
                  <a:pt x="90920" y="614"/>
                </a:lnTo>
                <a:lnTo>
                  <a:pt x="89898" y="511"/>
                </a:lnTo>
                <a:lnTo>
                  <a:pt x="90000" y="409"/>
                </a:lnTo>
                <a:lnTo>
                  <a:pt x="89795" y="409"/>
                </a:lnTo>
                <a:lnTo>
                  <a:pt x="89898" y="307"/>
                </a:lnTo>
                <a:lnTo>
                  <a:pt x="89898" y="307"/>
                </a:lnTo>
                <a:lnTo>
                  <a:pt x="87136" y="409"/>
                </a:lnTo>
                <a:lnTo>
                  <a:pt x="88466" y="205"/>
                </a:lnTo>
                <a:lnTo>
                  <a:pt x="84682" y="205"/>
                </a:lnTo>
                <a:lnTo>
                  <a:pt x="84989" y="409"/>
                </a:lnTo>
                <a:lnTo>
                  <a:pt x="82739" y="205"/>
                </a:lnTo>
                <a:lnTo>
                  <a:pt x="83352" y="409"/>
                </a:lnTo>
                <a:lnTo>
                  <a:pt x="83352" y="409"/>
                </a:lnTo>
                <a:lnTo>
                  <a:pt x="81102" y="205"/>
                </a:lnTo>
                <a:close/>
                <a:moveTo>
                  <a:pt x="62898" y="4909"/>
                </a:moveTo>
                <a:lnTo>
                  <a:pt x="63205" y="5011"/>
                </a:lnTo>
                <a:lnTo>
                  <a:pt x="63205" y="4909"/>
                </a:lnTo>
                <a:close/>
                <a:moveTo>
                  <a:pt x="55227" y="3989"/>
                </a:moveTo>
                <a:lnTo>
                  <a:pt x="55330" y="4091"/>
                </a:lnTo>
                <a:lnTo>
                  <a:pt x="50318" y="5011"/>
                </a:lnTo>
                <a:lnTo>
                  <a:pt x="50523" y="5011"/>
                </a:lnTo>
                <a:lnTo>
                  <a:pt x="50318" y="5216"/>
                </a:lnTo>
                <a:lnTo>
                  <a:pt x="50318" y="5216"/>
                </a:lnTo>
                <a:lnTo>
                  <a:pt x="51545" y="5011"/>
                </a:lnTo>
                <a:lnTo>
                  <a:pt x="51443" y="5318"/>
                </a:lnTo>
                <a:lnTo>
                  <a:pt x="54102" y="4500"/>
                </a:lnTo>
                <a:lnTo>
                  <a:pt x="53591" y="4909"/>
                </a:lnTo>
                <a:lnTo>
                  <a:pt x="53591" y="4909"/>
                </a:lnTo>
                <a:lnTo>
                  <a:pt x="56045" y="4091"/>
                </a:lnTo>
                <a:lnTo>
                  <a:pt x="55227" y="3989"/>
                </a:lnTo>
                <a:close/>
                <a:moveTo>
                  <a:pt x="65761" y="4705"/>
                </a:moveTo>
                <a:lnTo>
                  <a:pt x="63818" y="4807"/>
                </a:lnTo>
                <a:lnTo>
                  <a:pt x="64227" y="4909"/>
                </a:lnTo>
                <a:lnTo>
                  <a:pt x="63920" y="4909"/>
                </a:lnTo>
                <a:lnTo>
                  <a:pt x="64330" y="5011"/>
                </a:lnTo>
                <a:lnTo>
                  <a:pt x="64023" y="5216"/>
                </a:lnTo>
                <a:lnTo>
                  <a:pt x="63205" y="5011"/>
                </a:lnTo>
                <a:lnTo>
                  <a:pt x="62898" y="5114"/>
                </a:lnTo>
                <a:lnTo>
                  <a:pt x="63000" y="5114"/>
                </a:lnTo>
                <a:lnTo>
                  <a:pt x="63102" y="5318"/>
                </a:lnTo>
                <a:lnTo>
                  <a:pt x="63102" y="5318"/>
                </a:lnTo>
                <a:lnTo>
                  <a:pt x="62489" y="5216"/>
                </a:lnTo>
                <a:lnTo>
                  <a:pt x="61875" y="5420"/>
                </a:lnTo>
                <a:lnTo>
                  <a:pt x="64125" y="5420"/>
                </a:lnTo>
                <a:lnTo>
                  <a:pt x="62898" y="5625"/>
                </a:lnTo>
                <a:lnTo>
                  <a:pt x="63102" y="5727"/>
                </a:lnTo>
                <a:lnTo>
                  <a:pt x="63000" y="5932"/>
                </a:lnTo>
                <a:lnTo>
                  <a:pt x="63000" y="5932"/>
                </a:lnTo>
                <a:lnTo>
                  <a:pt x="65148" y="5420"/>
                </a:lnTo>
                <a:lnTo>
                  <a:pt x="64943" y="5318"/>
                </a:lnTo>
                <a:lnTo>
                  <a:pt x="65761" y="4705"/>
                </a:lnTo>
                <a:close/>
                <a:moveTo>
                  <a:pt x="209148" y="5011"/>
                </a:moveTo>
                <a:lnTo>
                  <a:pt x="209455" y="5420"/>
                </a:lnTo>
                <a:lnTo>
                  <a:pt x="207102" y="5216"/>
                </a:lnTo>
                <a:lnTo>
                  <a:pt x="207409" y="5318"/>
                </a:lnTo>
                <a:lnTo>
                  <a:pt x="207205" y="5318"/>
                </a:lnTo>
                <a:lnTo>
                  <a:pt x="207716" y="5625"/>
                </a:lnTo>
                <a:lnTo>
                  <a:pt x="207511" y="5625"/>
                </a:lnTo>
                <a:lnTo>
                  <a:pt x="211705" y="5932"/>
                </a:lnTo>
                <a:lnTo>
                  <a:pt x="210170" y="5420"/>
                </a:lnTo>
                <a:lnTo>
                  <a:pt x="210170" y="5420"/>
                </a:lnTo>
                <a:lnTo>
                  <a:pt x="212420" y="5727"/>
                </a:lnTo>
                <a:lnTo>
                  <a:pt x="212318" y="5523"/>
                </a:lnTo>
                <a:lnTo>
                  <a:pt x="209148" y="5011"/>
                </a:lnTo>
                <a:close/>
                <a:moveTo>
                  <a:pt x="65148" y="5932"/>
                </a:moveTo>
                <a:lnTo>
                  <a:pt x="65966" y="6239"/>
                </a:lnTo>
                <a:lnTo>
                  <a:pt x="66989" y="5932"/>
                </a:lnTo>
                <a:close/>
                <a:moveTo>
                  <a:pt x="59523" y="4500"/>
                </a:moveTo>
                <a:lnTo>
                  <a:pt x="58193" y="4807"/>
                </a:lnTo>
                <a:lnTo>
                  <a:pt x="58295" y="5011"/>
                </a:lnTo>
                <a:lnTo>
                  <a:pt x="57886" y="5216"/>
                </a:lnTo>
                <a:lnTo>
                  <a:pt x="58193" y="5420"/>
                </a:lnTo>
                <a:lnTo>
                  <a:pt x="56455" y="5216"/>
                </a:lnTo>
                <a:lnTo>
                  <a:pt x="56659" y="5216"/>
                </a:lnTo>
                <a:lnTo>
                  <a:pt x="55739" y="4909"/>
                </a:lnTo>
                <a:lnTo>
                  <a:pt x="55841" y="4807"/>
                </a:lnTo>
                <a:lnTo>
                  <a:pt x="54716" y="4909"/>
                </a:lnTo>
                <a:lnTo>
                  <a:pt x="55227" y="5011"/>
                </a:lnTo>
                <a:lnTo>
                  <a:pt x="53795" y="5216"/>
                </a:lnTo>
                <a:lnTo>
                  <a:pt x="54818" y="5216"/>
                </a:lnTo>
                <a:lnTo>
                  <a:pt x="53182" y="5420"/>
                </a:lnTo>
                <a:lnTo>
                  <a:pt x="54511" y="5318"/>
                </a:lnTo>
                <a:lnTo>
                  <a:pt x="52466" y="5727"/>
                </a:lnTo>
                <a:lnTo>
                  <a:pt x="53386" y="5932"/>
                </a:lnTo>
                <a:lnTo>
                  <a:pt x="53693" y="5830"/>
                </a:lnTo>
                <a:lnTo>
                  <a:pt x="53898" y="5932"/>
                </a:lnTo>
                <a:lnTo>
                  <a:pt x="54307" y="5830"/>
                </a:lnTo>
                <a:lnTo>
                  <a:pt x="54409" y="5727"/>
                </a:lnTo>
                <a:lnTo>
                  <a:pt x="55227" y="5625"/>
                </a:lnTo>
                <a:lnTo>
                  <a:pt x="54614" y="5830"/>
                </a:lnTo>
                <a:lnTo>
                  <a:pt x="56455" y="5727"/>
                </a:lnTo>
                <a:lnTo>
                  <a:pt x="56455" y="5727"/>
                </a:lnTo>
                <a:lnTo>
                  <a:pt x="54102" y="6136"/>
                </a:lnTo>
                <a:lnTo>
                  <a:pt x="54102" y="6341"/>
                </a:lnTo>
                <a:lnTo>
                  <a:pt x="57784" y="5932"/>
                </a:lnTo>
                <a:lnTo>
                  <a:pt x="57682" y="5932"/>
                </a:lnTo>
                <a:lnTo>
                  <a:pt x="59625" y="5727"/>
                </a:lnTo>
                <a:lnTo>
                  <a:pt x="60443" y="5114"/>
                </a:lnTo>
                <a:lnTo>
                  <a:pt x="58909" y="5318"/>
                </a:lnTo>
                <a:lnTo>
                  <a:pt x="59216" y="5114"/>
                </a:lnTo>
                <a:lnTo>
                  <a:pt x="58909" y="5114"/>
                </a:lnTo>
                <a:lnTo>
                  <a:pt x="59523" y="4500"/>
                </a:lnTo>
                <a:close/>
                <a:moveTo>
                  <a:pt x="70057" y="4705"/>
                </a:moveTo>
                <a:lnTo>
                  <a:pt x="68324" y="4801"/>
                </a:lnTo>
                <a:lnTo>
                  <a:pt x="68324" y="4801"/>
                </a:lnTo>
                <a:lnTo>
                  <a:pt x="68420" y="4807"/>
                </a:lnTo>
                <a:lnTo>
                  <a:pt x="68420" y="5318"/>
                </a:lnTo>
                <a:lnTo>
                  <a:pt x="67909" y="5625"/>
                </a:lnTo>
                <a:lnTo>
                  <a:pt x="67807" y="5830"/>
                </a:lnTo>
                <a:lnTo>
                  <a:pt x="68420" y="6034"/>
                </a:lnTo>
                <a:lnTo>
                  <a:pt x="68318" y="6136"/>
                </a:lnTo>
                <a:lnTo>
                  <a:pt x="69955" y="6136"/>
                </a:lnTo>
                <a:lnTo>
                  <a:pt x="69648" y="6341"/>
                </a:lnTo>
                <a:lnTo>
                  <a:pt x="75580" y="6034"/>
                </a:lnTo>
                <a:lnTo>
                  <a:pt x="75068" y="5932"/>
                </a:lnTo>
                <a:lnTo>
                  <a:pt x="75580" y="5523"/>
                </a:lnTo>
                <a:lnTo>
                  <a:pt x="74966" y="5420"/>
                </a:lnTo>
                <a:lnTo>
                  <a:pt x="75068" y="5318"/>
                </a:lnTo>
                <a:lnTo>
                  <a:pt x="71898" y="5523"/>
                </a:lnTo>
                <a:lnTo>
                  <a:pt x="72000" y="5625"/>
                </a:lnTo>
                <a:lnTo>
                  <a:pt x="70261" y="5420"/>
                </a:lnTo>
                <a:lnTo>
                  <a:pt x="70159" y="5523"/>
                </a:lnTo>
                <a:lnTo>
                  <a:pt x="69750" y="5523"/>
                </a:lnTo>
                <a:lnTo>
                  <a:pt x="70261" y="5318"/>
                </a:lnTo>
                <a:lnTo>
                  <a:pt x="69239" y="4909"/>
                </a:lnTo>
                <a:lnTo>
                  <a:pt x="70568" y="4909"/>
                </a:lnTo>
                <a:lnTo>
                  <a:pt x="69443" y="4807"/>
                </a:lnTo>
                <a:lnTo>
                  <a:pt x="70057" y="4705"/>
                </a:lnTo>
                <a:close/>
                <a:moveTo>
                  <a:pt x="165273" y="4705"/>
                </a:moveTo>
                <a:lnTo>
                  <a:pt x="160773" y="4909"/>
                </a:lnTo>
                <a:lnTo>
                  <a:pt x="160875" y="5011"/>
                </a:lnTo>
                <a:lnTo>
                  <a:pt x="160364" y="5114"/>
                </a:lnTo>
                <a:lnTo>
                  <a:pt x="159341" y="5420"/>
                </a:lnTo>
                <a:lnTo>
                  <a:pt x="158727" y="5625"/>
                </a:lnTo>
                <a:lnTo>
                  <a:pt x="158830" y="5727"/>
                </a:lnTo>
                <a:lnTo>
                  <a:pt x="158216" y="5830"/>
                </a:lnTo>
                <a:lnTo>
                  <a:pt x="158727" y="5932"/>
                </a:lnTo>
                <a:lnTo>
                  <a:pt x="158318" y="6239"/>
                </a:lnTo>
                <a:lnTo>
                  <a:pt x="158727" y="6341"/>
                </a:lnTo>
                <a:lnTo>
                  <a:pt x="158318" y="6443"/>
                </a:lnTo>
                <a:lnTo>
                  <a:pt x="158114" y="6648"/>
                </a:lnTo>
                <a:lnTo>
                  <a:pt x="157602" y="6955"/>
                </a:lnTo>
                <a:lnTo>
                  <a:pt x="158114" y="7261"/>
                </a:lnTo>
                <a:lnTo>
                  <a:pt x="160057" y="7057"/>
                </a:lnTo>
                <a:lnTo>
                  <a:pt x="159750" y="6852"/>
                </a:lnTo>
                <a:lnTo>
                  <a:pt x="160159" y="6341"/>
                </a:lnTo>
                <a:lnTo>
                  <a:pt x="160875" y="6239"/>
                </a:lnTo>
                <a:lnTo>
                  <a:pt x="160875" y="6136"/>
                </a:lnTo>
                <a:lnTo>
                  <a:pt x="161182" y="6034"/>
                </a:lnTo>
                <a:lnTo>
                  <a:pt x="160977" y="5932"/>
                </a:lnTo>
                <a:lnTo>
                  <a:pt x="165273" y="4705"/>
                </a:lnTo>
                <a:close/>
                <a:moveTo>
                  <a:pt x="212114" y="6852"/>
                </a:moveTo>
                <a:lnTo>
                  <a:pt x="211500" y="7261"/>
                </a:lnTo>
                <a:lnTo>
                  <a:pt x="214057" y="7364"/>
                </a:lnTo>
                <a:lnTo>
                  <a:pt x="212114" y="6852"/>
                </a:lnTo>
                <a:close/>
                <a:moveTo>
                  <a:pt x="177955" y="7159"/>
                </a:moveTo>
                <a:lnTo>
                  <a:pt x="178568" y="7466"/>
                </a:lnTo>
                <a:lnTo>
                  <a:pt x="177852" y="7261"/>
                </a:lnTo>
                <a:lnTo>
                  <a:pt x="177955" y="7159"/>
                </a:lnTo>
                <a:close/>
                <a:moveTo>
                  <a:pt x="58602" y="6955"/>
                </a:moveTo>
                <a:lnTo>
                  <a:pt x="57375" y="7159"/>
                </a:lnTo>
                <a:lnTo>
                  <a:pt x="57784" y="7568"/>
                </a:lnTo>
                <a:lnTo>
                  <a:pt x="58602" y="7261"/>
                </a:lnTo>
                <a:lnTo>
                  <a:pt x="58602" y="6955"/>
                </a:lnTo>
                <a:close/>
                <a:moveTo>
                  <a:pt x="108307" y="7568"/>
                </a:moveTo>
                <a:lnTo>
                  <a:pt x="108211" y="7587"/>
                </a:lnTo>
                <a:lnTo>
                  <a:pt x="108211" y="7587"/>
                </a:lnTo>
                <a:lnTo>
                  <a:pt x="108381" y="7603"/>
                </a:lnTo>
                <a:lnTo>
                  <a:pt x="108381" y="7603"/>
                </a:lnTo>
                <a:lnTo>
                  <a:pt x="108307" y="7568"/>
                </a:lnTo>
                <a:close/>
                <a:moveTo>
                  <a:pt x="73636" y="7159"/>
                </a:moveTo>
                <a:lnTo>
                  <a:pt x="74659" y="7670"/>
                </a:lnTo>
                <a:lnTo>
                  <a:pt x="76193" y="7670"/>
                </a:lnTo>
                <a:lnTo>
                  <a:pt x="76193" y="7466"/>
                </a:lnTo>
                <a:lnTo>
                  <a:pt x="75989" y="7261"/>
                </a:lnTo>
                <a:lnTo>
                  <a:pt x="73636" y="7159"/>
                </a:lnTo>
                <a:close/>
                <a:moveTo>
                  <a:pt x="108381" y="7603"/>
                </a:moveTo>
                <a:lnTo>
                  <a:pt x="109841" y="8284"/>
                </a:lnTo>
                <a:lnTo>
                  <a:pt x="110250" y="7773"/>
                </a:lnTo>
                <a:lnTo>
                  <a:pt x="108381" y="7603"/>
                </a:lnTo>
                <a:close/>
                <a:moveTo>
                  <a:pt x="68011" y="6852"/>
                </a:moveTo>
                <a:lnTo>
                  <a:pt x="64227" y="7364"/>
                </a:lnTo>
                <a:lnTo>
                  <a:pt x="63511" y="8386"/>
                </a:lnTo>
                <a:lnTo>
                  <a:pt x="63511" y="8386"/>
                </a:lnTo>
                <a:lnTo>
                  <a:pt x="64534" y="8182"/>
                </a:lnTo>
                <a:lnTo>
                  <a:pt x="64739" y="7773"/>
                </a:lnTo>
                <a:lnTo>
                  <a:pt x="65352" y="7773"/>
                </a:lnTo>
                <a:lnTo>
                  <a:pt x="68011" y="6852"/>
                </a:lnTo>
                <a:close/>
                <a:moveTo>
                  <a:pt x="216716" y="8182"/>
                </a:moveTo>
                <a:lnTo>
                  <a:pt x="217227" y="8489"/>
                </a:lnTo>
                <a:lnTo>
                  <a:pt x="217330" y="8182"/>
                </a:lnTo>
                <a:close/>
                <a:moveTo>
                  <a:pt x="62080" y="6852"/>
                </a:moveTo>
                <a:lnTo>
                  <a:pt x="60852" y="7159"/>
                </a:lnTo>
                <a:lnTo>
                  <a:pt x="61568" y="7364"/>
                </a:lnTo>
                <a:lnTo>
                  <a:pt x="61057" y="7466"/>
                </a:lnTo>
                <a:lnTo>
                  <a:pt x="61057" y="7568"/>
                </a:lnTo>
                <a:lnTo>
                  <a:pt x="60341" y="7773"/>
                </a:lnTo>
                <a:lnTo>
                  <a:pt x="60034" y="7466"/>
                </a:lnTo>
                <a:lnTo>
                  <a:pt x="59420" y="7773"/>
                </a:lnTo>
                <a:lnTo>
                  <a:pt x="59727" y="8182"/>
                </a:lnTo>
                <a:lnTo>
                  <a:pt x="60136" y="8284"/>
                </a:lnTo>
                <a:lnTo>
                  <a:pt x="60443" y="8898"/>
                </a:lnTo>
                <a:lnTo>
                  <a:pt x="61159" y="8898"/>
                </a:lnTo>
                <a:lnTo>
                  <a:pt x="61364" y="8489"/>
                </a:lnTo>
                <a:lnTo>
                  <a:pt x="62182" y="8591"/>
                </a:lnTo>
                <a:lnTo>
                  <a:pt x="63205" y="7773"/>
                </a:lnTo>
                <a:lnTo>
                  <a:pt x="62795" y="7875"/>
                </a:lnTo>
                <a:lnTo>
                  <a:pt x="62795" y="7670"/>
                </a:lnTo>
                <a:lnTo>
                  <a:pt x="62898" y="7670"/>
                </a:lnTo>
                <a:lnTo>
                  <a:pt x="62182" y="7568"/>
                </a:lnTo>
                <a:lnTo>
                  <a:pt x="63409" y="7261"/>
                </a:lnTo>
                <a:lnTo>
                  <a:pt x="63205" y="7159"/>
                </a:lnTo>
                <a:lnTo>
                  <a:pt x="63511" y="6852"/>
                </a:lnTo>
                <a:close/>
                <a:moveTo>
                  <a:pt x="47250" y="6443"/>
                </a:moveTo>
                <a:lnTo>
                  <a:pt x="47148" y="6852"/>
                </a:lnTo>
                <a:lnTo>
                  <a:pt x="43977" y="8386"/>
                </a:lnTo>
                <a:lnTo>
                  <a:pt x="44284" y="8386"/>
                </a:lnTo>
                <a:lnTo>
                  <a:pt x="44898" y="8693"/>
                </a:lnTo>
                <a:lnTo>
                  <a:pt x="44795" y="9102"/>
                </a:lnTo>
                <a:lnTo>
                  <a:pt x="44795" y="9102"/>
                </a:lnTo>
                <a:lnTo>
                  <a:pt x="51955" y="7159"/>
                </a:lnTo>
                <a:lnTo>
                  <a:pt x="51545" y="6545"/>
                </a:lnTo>
                <a:lnTo>
                  <a:pt x="50318" y="6750"/>
                </a:lnTo>
                <a:lnTo>
                  <a:pt x="50420" y="6545"/>
                </a:lnTo>
                <a:lnTo>
                  <a:pt x="50011" y="6648"/>
                </a:lnTo>
                <a:lnTo>
                  <a:pt x="50216" y="6545"/>
                </a:lnTo>
                <a:lnTo>
                  <a:pt x="47250" y="6443"/>
                </a:lnTo>
                <a:close/>
                <a:moveTo>
                  <a:pt x="158625" y="7261"/>
                </a:moveTo>
                <a:lnTo>
                  <a:pt x="157602" y="7875"/>
                </a:lnTo>
                <a:lnTo>
                  <a:pt x="157500" y="8182"/>
                </a:lnTo>
                <a:lnTo>
                  <a:pt x="156989" y="8284"/>
                </a:lnTo>
                <a:lnTo>
                  <a:pt x="159034" y="9102"/>
                </a:lnTo>
                <a:lnTo>
                  <a:pt x="158830" y="9102"/>
                </a:lnTo>
                <a:lnTo>
                  <a:pt x="158830" y="9205"/>
                </a:lnTo>
                <a:lnTo>
                  <a:pt x="158727" y="9205"/>
                </a:lnTo>
                <a:lnTo>
                  <a:pt x="158727" y="9307"/>
                </a:lnTo>
                <a:lnTo>
                  <a:pt x="158625" y="9307"/>
                </a:lnTo>
                <a:lnTo>
                  <a:pt x="160773" y="9614"/>
                </a:lnTo>
                <a:lnTo>
                  <a:pt x="160773" y="9614"/>
                </a:lnTo>
                <a:lnTo>
                  <a:pt x="160568" y="9511"/>
                </a:lnTo>
                <a:lnTo>
                  <a:pt x="161489" y="9511"/>
                </a:lnTo>
                <a:lnTo>
                  <a:pt x="159239" y="8080"/>
                </a:lnTo>
                <a:lnTo>
                  <a:pt x="159341" y="7773"/>
                </a:lnTo>
                <a:lnTo>
                  <a:pt x="159545" y="7670"/>
                </a:lnTo>
                <a:lnTo>
                  <a:pt x="159545" y="7466"/>
                </a:lnTo>
                <a:lnTo>
                  <a:pt x="158625" y="7261"/>
                </a:lnTo>
                <a:close/>
                <a:moveTo>
                  <a:pt x="18920" y="9818"/>
                </a:moveTo>
                <a:lnTo>
                  <a:pt x="18511" y="9920"/>
                </a:lnTo>
                <a:lnTo>
                  <a:pt x="18511" y="9920"/>
                </a:lnTo>
                <a:lnTo>
                  <a:pt x="18637" y="9901"/>
                </a:lnTo>
                <a:lnTo>
                  <a:pt x="18637" y="9901"/>
                </a:lnTo>
                <a:lnTo>
                  <a:pt x="18920" y="9818"/>
                </a:lnTo>
                <a:close/>
                <a:moveTo>
                  <a:pt x="137352" y="10125"/>
                </a:moveTo>
                <a:lnTo>
                  <a:pt x="137352" y="10125"/>
                </a:lnTo>
                <a:lnTo>
                  <a:pt x="137352" y="10125"/>
                </a:lnTo>
                <a:close/>
                <a:moveTo>
                  <a:pt x="88977" y="9818"/>
                </a:moveTo>
                <a:lnTo>
                  <a:pt x="88670" y="10125"/>
                </a:lnTo>
                <a:lnTo>
                  <a:pt x="88466" y="10125"/>
                </a:lnTo>
                <a:lnTo>
                  <a:pt x="88364" y="10432"/>
                </a:lnTo>
                <a:lnTo>
                  <a:pt x="88875" y="10534"/>
                </a:lnTo>
                <a:lnTo>
                  <a:pt x="88568" y="10636"/>
                </a:lnTo>
                <a:lnTo>
                  <a:pt x="89489" y="10636"/>
                </a:lnTo>
                <a:lnTo>
                  <a:pt x="90000" y="10227"/>
                </a:lnTo>
                <a:lnTo>
                  <a:pt x="88977" y="9818"/>
                </a:lnTo>
                <a:close/>
                <a:moveTo>
                  <a:pt x="52466" y="7261"/>
                </a:moveTo>
                <a:lnTo>
                  <a:pt x="48170" y="8591"/>
                </a:lnTo>
                <a:lnTo>
                  <a:pt x="48784" y="8693"/>
                </a:lnTo>
                <a:lnTo>
                  <a:pt x="48375" y="8898"/>
                </a:lnTo>
                <a:lnTo>
                  <a:pt x="50216" y="8795"/>
                </a:lnTo>
                <a:lnTo>
                  <a:pt x="50216" y="8795"/>
                </a:lnTo>
                <a:lnTo>
                  <a:pt x="49705" y="8898"/>
                </a:lnTo>
                <a:lnTo>
                  <a:pt x="49807" y="8898"/>
                </a:lnTo>
                <a:lnTo>
                  <a:pt x="47761" y="9307"/>
                </a:lnTo>
                <a:lnTo>
                  <a:pt x="51545" y="9818"/>
                </a:lnTo>
                <a:lnTo>
                  <a:pt x="48273" y="9920"/>
                </a:lnTo>
                <a:lnTo>
                  <a:pt x="47557" y="10534"/>
                </a:lnTo>
                <a:lnTo>
                  <a:pt x="49193" y="10739"/>
                </a:lnTo>
                <a:lnTo>
                  <a:pt x="48989" y="11352"/>
                </a:lnTo>
                <a:lnTo>
                  <a:pt x="54102" y="10534"/>
                </a:lnTo>
                <a:lnTo>
                  <a:pt x="54102" y="10739"/>
                </a:lnTo>
                <a:lnTo>
                  <a:pt x="54818" y="10841"/>
                </a:lnTo>
                <a:lnTo>
                  <a:pt x="54614" y="10943"/>
                </a:lnTo>
                <a:lnTo>
                  <a:pt x="56148" y="11045"/>
                </a:lnTo>
                <a:lnTo>
                  <a:pt x="57170" y="10534"/>
                </a:lnTo>
                <a:lnTo>
                  <a:pt x="56250" y="10739"/>
                </a:lnTo>
                <a:lnTo>
                  <a:pt x="56455" y="10534"/>
                </a:lnTo>
                <a:lnTo>
                  <a:pt x="56352" y="10432"/>
                </a:lnTo>
                <a:lnTo>
                  <a:pt x="58295" y="10023"/>
                </a:lnTo>
                <a:lnTo>
                  <a:pt x="57989" y="9920"/>
                </a:lnTo>
                <a:lnTo>
                  <a:pt x="57989" y="9818"/>
                </a:lnTo>
                <a:lnTo>
                  <a:pt x="56864" y="9409"/>
                </a:lnTo>
                <a:lnTo>
                  <a:pt x="57682" y="7670"/>
                </a:lnTo>
                <a:lnTo>
                  <a:pt x="56455" y="7364"/>
                </a:lnTo>
                <a:lnTo>
                  <a:pt x="55739" y="8489"/>
                </a:lnTo>
                <a:lnTo>
                  <a:pt x="55023" y="8693"/>
                </a:lnTo>
                <a:lnTo>
                  <a:pt x="55023" y="8693"/>
                </a:lnTo>
                <a:lnTo>
                  <a:pt x="55227" y="7875"/>
                </a:lnTo>
                <a:lnTo>
                  <a:pt x="54614" y="7773"/>
                </a:lnTo>
                <a:lnTo>
                  <a:pt x="53591" y="8080"/>
                </a:lnTo>
                <a:lnTo>
                  <a:pt x="53693" y="7977"/>
                </a:lnTo>
                <a:lnTo>
                  <a:pt x="53182" y="8080"/>
                </a:lnTo>
                <a:lnTo>
                  <a:pt x="53182" y="8080"/>
                </a:lnTo>
                <a:lnTo>
                  <a:pt x="53898" y="7773"/>
                </a:lnTo>
                <a:lnTo>
                  <a:pt x="51750" y="7875"/>
                </a:lnTo>
                <a:lnTo>
                  <a:pt x="52466" y="7261"/>
                </a:lnTo>
                <a:close/>
                <a:moveTo>
                  <a:pt x="60341" y="10330"/>
                </a:moveTo>
                <a:lnTo>
                  <a:pt x="58602" y="10841"/>
                </a:lnTo>
                <a:lnTo>
                  <a:pt x="59114" y="11148"/>
                </a:lnTo>
                <a:lnTo>
                  <a:pt x="60136" y="11352"/>
                </a:lnTo>
                <a:lnTo>
                  <a:pt x="61159" y="11045"/>
                </a:lnTo>
                <a:lnTo>
                  <a:pt x="60239" y="10432"/>
                </a:lnTo>
                <a:lnTo>
                  <a:pt x="60341" y="10330"/>
                </a:lnTo>
                <a:close/>
                <a:moveTo>
                  <a:pt x="175193" y="11250"/>
                </a:moveTo>
                <a:lnTo>
                  <a:pt x="176114" y="11557"/>
                </a:lnTo>
                <a:lnTo>
                  <a:pt x="176114" y="12068"/>
                </a:lnTo>
                <a:lnTo>
                  <a:pt x="177136" y="12170"/>
                </a:lnTo>
                <a:lnTo>
                  <a:pt x="177136" y="12170"/>
                </a:lnTo>
                <a:lnTo>
                  <a:pt x="176011" y="12068"/>
                </a:lnTo>
                <a:lnTo>
                  <a:pt x="175193" y="11250"/>
                </a:lnTo>
                <a:close/>
                <a:moveTo>
                  <a:pt x="73023" y="11557"/>
                </a:moveTo>
                <a:lnTo>
                  <a:pt x="72307" y="12375"/>
                </a:lnTo>
                <a:lnTo>
                  <a:pt x="73432" y="12375"/>
                </a:lnTo>
                <a:lnTo>
                  <a:pt x="74148" y="11659"/>
                </a:lnTo>
                <a:lnTo>
                  <a:pt x="73023" y="11557"/>
                </a:lnTo>
                <a:close/>
                <a:moveTo>
                  <a:pt x="108409" y="13295"/>
                </a:moveTo>
                <a:lnTo>
                  <a:pt x="108716" y="13398"/>
                </a:lnTo>
                <a:lnTo>
                  <a:pt x="108818" y="13398"/>
                </a:lnTo>
                <a:lnTo>
                  <a:pt x="108409" y="13295"/>
                </a:lnTo>
                <a:close/>
                <a:moveTo>
                  <a:pt x="9205" y="13807"/>
                </a:moveTo>
                <a:lnTo>
                  <a:pt x="9102" y="13909"/>
                </a:lnTo>
                <a:lnTo>
                  <a:pt x="9205" y="13909"/>
                </a:lnTo>
                <a:lnTo>
                  <a:pt x="9205" y="13807"/>
                </a:lnTo>
                <a:close/>
                <a:moveTo>
                  <a:pt x="5420" y="11045"/>
                </a:moveTo>
                <a:lnTo>
                  <a:pt x="0" y="14420"/>
                </a:lnTo>
                <a:lnTo>
                  <a:pt x="511" y="14318"/>
                </a:lnTo>
                <a:lnTo>
                  <a:pt x="1227" y="13909"/>
                </a:lnTo>
                <a:lnTo>
                  <a:pt x="1227" y="13705"/>
                </a:lnTo>
                <a:lnTo>
                  <a:pt x="1739" y="13398"/>
                </a:lnTo>
                <a:lnTo>
                  <a:pt x="1636" y="13500"/>
                </a:lnTo>
                <a:lnTo>
                  <a:pt x="2352" y="13295"/>
                </a:lnTo>
                <a:lnTo>
                  <a:pt x="2148" y="13398"/>
                </a:lnTo>
                <a:lnTo>
                  <a:pt x="2761" y="13193"/>
                </a:lnTo>
                <a:lnTo>
                  <a:pt x="2761" y="13193"/>
                </a:lnTo>
                <a:lnTo>
                  <a:pt x="1636" y="14011"/>
                </a:lnTo>
                <a:lnTo>
                  <a:pt x="3273" y="14114"/>
                </a:lnTo>
                <a:lnTo>
                  <a:pt x="3068" y="14625"/>
                </a:lnTo>
                <a:lnTo>
                  <a:pt x="3375" y="15034"/>
                </a:lnTo>
                <a:lnTo>
                  <a:pt x="3989" y="14932"/>
                </a:lnTo>
                <a:lnTo>
                  <a:pt x="3682" y="15136"/>
                </a:lnTo>
                <a:lnTo>
                  <a:pt x="4295" y="14932"/>
                </a:lnTo>
                <a:lnTo>
                  <a:pt x="4193" y="15034"/>
                </a:lnTo>
                <a:lnTo>
                  <a:pt x="4193" y="15034"/>
                </a:lnTo>
                <a:lnTo>
                  <a:pt x="4602" y="14727"/>
                </a:lnTo>
                <a:lnTo>
                  <a:pt x="4500" y="14625"/>
                </a:lnTo>
                <a:lnTo>
                  <a:pt x="5523" y="14318"/>
                </a:lnTo>
                <a:lnTo>
                  <a:pt x="5318" y="14318"/>
                </a:lnTo>
                <a:lnTo>
                  <a:pt x="5830" y="14114"/>
                </a:lnTo>
                <a:lnTo>
                  <a:pt x="5727" y="14114"/>
                </a:lnTo>
                <a:lnTo>
                  <a:pt x="5727" y="13909"/>
                </a:lnTo>
                <a:lnTo>
                  <a:pt x="6136" y="14011"/>
                </a:lnTo>
                <a:lnTo>
                  <a:pt x="6750" y="14011"/>
                </a:lnTo>
                <a:lnTo>
                  <a:pt x="6852" y="13807"/>
                </a:lnTo>
                <a:lnTo>
                  <a:pt x="7159" y="13909"/>
                </a:lnTo>
                <a:lnTo>
                  <a:pt x="8386" y="13500"/>
                </a:lnTo>
                <a:lnTo>
                  <a:pt x="8080" y="13398"/>
                </a:lnTo>
                <a:lnTo>
                  <a:pt x="7977" y="13398"/>
                </a:lnTo>
                <a:lnTo>
                  <a:pt x="8080" y="13193"/>
                </a:lnTo>
                <a:lnTo>
                  <a:pt x="8080" y="12886"/>
                </a:lnTo>
                <a:lnTo>
                  <a:pt x="7364" y="12682"/>
                </a:lnTo>
                <a:lnTo>
                  <a:pt x="7364" y="12682"/>
                </a:lnTo>
                <a:lnTo>
                  <a:pt x="7568" y="12784"/>
                </a:lnTo>
                <a:lnTo>
                  <a:pt x="6852" y="12886"/>
                </a:lnTo>
                <a:lnTo>
                  <a:pt x="7261" y="12682"/>
                </a:lnTo>
                <a:lnTo>
                  <a:pt x="6341" y="12682"/>
                </a:lnTo>
                <a:lnTo>
                  <a:pt x="6034" y="12989"/>
                </a:lnTo>
                <a:lnTo>
                  <a:pt x="6034" y="13193"/>
                </a:lnTo>
                <a:lnTo>
                  <a:pt x="5625" y="13398"/>
                </a:lnTo>
                <a:lnTo>
                  <a:pt x="5625" y="13398"/>
                </a:lnTo>
                <a:lnTo>
                  <a:pt x="5932" y="13193"/>
                </a:lnTo>
                <a:lnTo>
                  <a:pt x="5523" y="13295"/>
                </a:lnTo>
                <a:lnTo>
                  <a:pt x="5523" y="13091"/>
                </a:lnTo>
                <a:lnTo>
                  <a:pt x="6545" y="12375"/>
                </a:lnTo>
                <a:lnTo>
                  <a:pt x="6136" y="12375"/>
                </a:lnTo>
                <a:lnTo>
                  <a:pt x="6648" y="12068"/>
                </a:lnTo>
                <a:lnTo>
                  <a:pt x="5830" y="11659"/>
                </a:lnTo>
                <a:lnTo>
                  <a:pt x="5932" y="11557"/>
                </a:lnTo>
                <a:lnTo>
                  <a:pt x="5727" y="11352"/>
                </a:lnTo>
                <a:lnTo>
                  <a:pt x="5523" y="11557"/>
                </a:lnTo>
                <a:lnTo>
                  <a:pt x="5523" y="11352"/>
                </a:lnTo>
                <a:lnTo>
                  <a:pt x="5625" y="11250"/>
                </a:lnTo>
                <a:lnTo>
                  <a:pt x="5420" y="11045"/>
                </a:lnTo>
                <a:close/>
                <a:moveTo>
                  <a:pt x="113011" y="13193"/>
                </a:moveTo>
                <a:lnTo>
                  <a:pt x="112807" y="13398"/>
                </a:lnTo>
                <a:lnTo>
                  <a:pt x="112500" y="13398"/>
                </a:lnTo>
                <a:lnTo>
                  <a:pt x="112193" y="13602"/>
                </a:lnTo>
                <a:lnTo>
                  <a:pt x="111682" y="13500"/>
                </a:lnTo>
                <a:lnTo>
                  <a:pt x="111682" y="13500"/>
                </a:lnTo>
                <a:lnTo>
                  <a:pt x="111784" y="13807"/>
                </a:lnTo>
                <a:lnTo>
                  <a:pt x="111170" y="13500"/>
                </a:lnTo>
                <a:lnTo>
                  <a:pt x="110864" y="13500"/>
                </a:lnTo>
                <a:lnTo>
                  <a:pt x="110864" y="13807"/>
                </a:lnTo>
                <a:lnTo>
                  <a:pt x="110250" y="13602"/>
                </a:lnTo>
                <a:lnTo>
                  <a:pt x="110148" y="14011"/>
                </a:lnTo>
                <a:lnTo>
                  <a:pt x="109739" y="14011"/>
                </a:lnTo>
                <a:lnTo>
                  <a:pt x="109636" y="14216"/>
                </a:lnTo>
                <a:lnTo>
                  <a:pt x="109432" y="14114"/>
                </a:lnTo>
                <a:lnTo>
                  <a:pt x="109534" y="14011"/>
                </a:lnTo>
                <a:lnTo>
                  <a:pt x="109330" y="13807"/>
                </a:lnTo>
                <a:lnTo>
                  <a:pt x="109534" y="13602"/>
                </a:lnTo>
                <a:lnTo>
                  <a:pt x="108716" y="13398"/>
                </a:lnTo>
                <a:lnTo>
                  <a:pt x="108511" y="13398"/>
                </a:lnTo>
                <a:lnTo>
                  <a:pt x="108716" y="13705"/>
                </a:lnTo>
                <a:lnTo>
                  <a:pt x="108102" y="13500"/>
                </a:lnTo>
                <a:lnTo>
                  <a:pt x="108102" y="13500"/>
                </a:lnTo>
                <a:lnTo>
                  <a:pt x="108205" y="13602"/>
                </a:lnTo>
                <a:lnTo>
                  <a:pt x="108102" y="13705"/>
                </a:lnTo>
                <a:lnTo>
                  <a:pt x="107898" y="13705"/>
                </a:lnTo>
                <a:lnTo>
                  <a:pt x="108205" y="13807"/>
                </a:lnTo>
                <a:lnTo>
                  <a:pt x="107693" y="13807"/>
                </a:lnTo>
                <a:lnTo>
                  <a:pt x="107795" y="14011"/>
                </a:lnTo>
                <a:lnTo>
                  <a:pt x="107386" y="14011"/>
                </a:lnTo>
                <a:lnTo>
                  <a:pt x="109125" y="14114"/>
                </a:lnTo>
                <a:lnTo>
                  <a:pt x="108614" y="14318"/>
                </a:lnTo>
                <a:lnTo>
                  <a:pt x="109125" y="14318"/>
                </a:lnTo>
                <a:lnTo>
                  <a:pt x="109125" y="14420"/>
                </a:lnTo>
                <a:lnTo>
                  <a:pt x="107898" y="14523"/>
                </a:lnTo>
                <a:lnTo>
                  <a:pt x="107795" y="14727"/>
                </a:lnTo>
                <a:lnTo>
                  <a:pt x="109227" y="14830"/>
                </a:lnTo>
                <a:lnTo>
                  <a:pt x="108818" y="15136"/>
                </a:lnTo>
                <a:lnTo>
                  <a:pt x="109227" y="15034"/>
                </a:lnTo>
                <a:lnTo>
                  <a:pt x="108307" y="15341"/>
                </a:lnTo>
                <a:lnTo>
                  <a:pt x="108716" y="15545"/>
                </a:lnTo>
                <a:lnTo>
                  <a:pt x="109432" y="15443"/>
                </a:lnTo>
                <a:lnTo>
                  <a:pt x="111375" y="15852"/>
                </a:lnTo>
                <a:lnTo>
                  <a:pt x="114648" y="14625"/>
                </a:lnTo>
                <a:lnTo>
                  <a:pt x="114648" y="14216"/>
                </a:lnTo>
                <a:lnTo>
                  <a:pt x="114034" y="13807"/>
                </a:lnTo>
                <a:lnTo>
                  <a:pt x="113830" y="13500"/>
                </a:lnTo>
                <a:lnTo>
                  <a:pt x="114239" y="13295"/>
                </a:lnTo>
                <a:lnTo>
                  <a:pt x="113011" y="13193"/>
                </a:lnTo>
                <a:close/>
                <a:moveTo>
                  <a:pt x="65557" y="13705"/>
                </a:moveTo>
                <a:lnTo>
                  <a:pt x="63102" y="15750"/>
                </a:lnTo>
                <a:lnTo>
                  <a:pt x="63818" y="15750"/>
                </a:lnTo>
                <a:lnTo>
                  <a:pt x="64023" y="16159"/>
                </a:lnTo>
                <a:lnTo>
                  <a:pt x="66309" y="15364"/>
                </a:lnTo>
                <a:lnTo>
                  <a:pt x="66309" y="15364"/>
                </a:lnTo>
                <a:lnTo>
                  <a:pt x="67091" y="15852"/>
                </a:lnTo>
                <a:lnTo>
                  <a:pt x="68114" y="15545"/>
                </a:lnTo>
                <a:lnTo>
                  <a:pt x="67091" y="15443"/>
                </a:lnTo>
                <a:lnTo>
                  <a:pt x="67295" y="14830"/>
                </a:lnTo>
                <a:lnTo>
                  <a:pt x="65659" y="14011"/>
                </a:lnTo>
                <a:lnTo>
                  <a:pt x="65557" y="13705"/>
                </a:lnTo>
                <a:close/>
                <a:moveTo>
                  <a:pt x="128864" y="16773"/>
                </a:moveTo>
                <a:lnTo>
                  <a:pt x="128455" y="16875"/>
                </a:lnTo>
                <a:lnTo>
                  <a:pt x="128455" y="16875"/>
                </a:lnTo>
                <a:lnTo>
                  <a:pt x="128785" y="16804"/>
                </a:lnTo>
                <a:lnTo>
                  <a:pt x="128785" y="16804"/>
                </a:lnTo>
                <a:lnTo>
                  <a:pt x="128864" y="16773"/>
                </a:lnTo>
                <a:close/>
                <a:moveTo>
                  <a:pt x="73227" y="6955"/>
                </a:moveTo>
                <a:lnTo>
                  <a:pt x="70773" y="7364"/>
                </a:lnTo>
                <a:lnTo>
                  <a:pt x="71080" y="7670"/>
                </a:lnTo>
                <a:lnTo>
                  <a:pt x="70159" y="7773"/>
                </a:lnTo>
                <a:lnTo>
                  <a:pt x="70466" y="8080"/>
                </a:lnTo>
                <a:lnTo>
                  <a:pt x="70466" y="8386"/>
                </a:lnTo>
                <a:lnTo>
                  <a:pt x="69443" y="8386"/>
                </a:lnTo>
                <a:lnTo>
                  <a:pt x="69955" y="8693"/>
                </a:lnTo>
                <a:lnTo>
                  <a:pt x="69545" y="9205"/>
                </a:lnTo>
                <a:lnTo>
                  <a:pt x="68318" y="9205"/>
                </a:lnTo>
                <a:lnTo>
                  <a:pt x="69545" y="8898"/>
                </a:lnTo>
                <a:lnTo>
                  <a:pt x="69136" y="8489"/>
                </a:lnTo>
                <a:lnTo>
                  <a:pt x="69443" y="7773"/>
                </a:lnTo>
                <a:lnTo>
                  <a:pt x="71284" y="6955"/>
                </a:lnTo>
                <a:lnTo>
                  <a:pt x="71284" y="6955"/>
                </a:lnTo>
                <a:lnTo>
                  <a:pt x="67193" y="8284"/>
                </a:lnTo>
                <a:lnTo>
                  <a:pt x="66682" y="8898"/>
                </a:lnTo>
                <a:lnTo>
                  <a:pt x="67909" y="9205"/>
                </a:lnTo>
                <a:lnTo>
                  <a:pt x="66477" y="9205"/>
                </a:lnTo>
                <a:lnTo>
                  <a:pt x="68114" y="9716"/>
                </a:lnTo>
                <a:lnTo>
                  <a:pt x="67909" y="9920"/>
                </a:lnTo>
                <a:lnTo>
                  <a:pt x="70875" y="10125"/>
                </a:lnTo>
                <a:lnTo>
                  <a:pt x="70875" y="10023"/>
                </a:lnTo>
                <a:lnTo>
                  <a:pt x="72205" y="10227"/>
                </a:lnTo>
                <a:lnTo>
                  <a:pt x="72614" y="9716"/>
                </a:lnTo>
                <a:lnTo>
                  <a:pt x="73534" y="9920"/>
                </a:lnTo>
                <a:lnTo>
                  <a:pt x="73432" y="10227"/>
                </a:lnTo>
                <a:lnTo>
                  <a:pt x="73841" y="10330"/>
                </a:lnTo>
                <a:lnTo>
                  <a:pt x="73636" y="10432"/>
                </a:lnTo>
                <a:lnTo>
                  <a:pt x="74148" y="10330"/>
                </a:lnTo>
                <a:lnTo>
                  <a:pt x="74250" y="10739"/>
                </a:lnTo>
                <a:lnTo>
                  <a:pt x="73432" y="11148"/>
                </a:lnTo>
                <a:lnTo>
                  <a:pt x="74685" y="10969"/>
                </a:lnTo>
                <a:lnTo>
                  <a:pt x="74761" y="11045"/>
                </a:lnTo>
                <a:lnTo>
                  <a:pt x="74557" y="11148"/>
                </a:lnTo>
                <a:lnTo>
                  <a:pt x="75375" y="11557"/>
                </a:lnTo>
                <a:lnTo>
                  <a:pt x="75477" y="12273"/>
                </a:lnTo>
                <a:lnTo>
                  <a:pt x="73534" y="13398"/>
                </a:lnTo>
                <a:lnTo>
                  <a:pt x="73636" y="13807"/>
                </a:lnTo>
                <a:lnTo>
                  <a:pt x="72000" y="14216"/>
                </a:lnTo>
                <a:lnTo>
                  <a:pt x="72000" y="14318"/>
                </a:lnTo>
                <a:lnTo>
                  <a:pt x="72000" y="14420"/>
                </a:lnTo>
                <a:lnTo>
                  <a:pt x="71898" y="14625"/>
                </a:lnTo>
                <a:lnTo>
                  <a:pt x="72000" y="14318"/>
                </a:lnTo>
                <a:lnTo>
                  <a:pt x="71080" y="14114"/>
                </a:lnTo>
                <a:lnTo>
                  <a:pt x="70057" y="14727"/>
                </a:lnTo>
                <a:lnTo>
                  <a:pt x="70977" y="15136"/>
                </a:lnTo>
                <a:lnTo>
                  <a:pt x="72307" y="14727"/>
                </a:lnTo>
                <a:lnTo>
                  <a:pt x="72818" y="14830"/>
                </a:lnTo>
                <a:lnTo>
                  <a:pt x="72716" y="15034"/>
                </a:lnTo>
                <a:lnTo>
                  <a:pt x="72716" y="15034"/>
                </a:lnTo>
                <a:lnTo>
                  <a:pt x="73330" y="14830"/>
                </a:lnTo>
                <a:lnTo>
                  <a:pt x="73125" y="15034"/>
                </a:lnTo>
                <a:lnTo>
                  <a:pt x="73739" y="15545"/>
                </a:lnTo>
                <a:lnTo>
                  <a:pt x="73636" y="15648"/>
                </a:lnTo>
                <a:lnTo>
                  <a:pt x="74148" y="15750"/>
                </a:lnTo>
                <a:lnTo>
                  <a:pt x="73636" y="15955"/>
                </a:lnTo>
                <a:lnTo>
                  <a:pt x="74250" y="16261"/>
                </a:lnTo>
                <a:lnTo>
                  <a:pt x="74045" y="16364"/>
                </a:lnTo>
                <a:lnTo>
                  <a:pt x="76909" y="17386"/>
                </a:lnTo>
                <a:lnTo>
                  <a:pt x="77318" y="17080"/>
                </a:lnTo>
                <a:lnTo>
                  <a:pt x="76398" y="16364"/>
                </a:lnTo>
                <a:lnTo>
                  <a:pt x="76500" y="16261"/>
                </a:lnTo>
                <a:lnTo>
                  <a:pt x="75989" y="15648"/>
                </a:lnTo>
                <a:lnTo>
                  <a:pt x="76705" y="15648"/>
                </a:lnTo>
                <a:lnTo>
                  <a:pt x="78034" y="16568"/>
                </a:lnTo>
                <a:lnTo>
                  <a:pt x="78239" y="16364"/>
                </a:lnTo>
                <a:lnTo>
                  <a:pt x="78545" y="16364"/>
                </a:lnTo>
                <a:lnTo>
                  <a:pt x="78545" y="15648"/>
                </a:lnTo>
                <a:lnTo>
                  <a:pt x="78955" y="15955"/>
                </a:lnTo>
                <a:lnTo>
                  <a:pt x="78955" y="15443"/>
                </a:lnTo>
                <a:lnTo>
                  <a:pt x="79057" y="15341"/>
                </a:lnTo>
                <a:lnTo>
                  <a:pt x="78750" y="15341"/>
                </a:lnTo>
                <a:lnTo>
                  <a:pt x="78545" y="15136"/>
                </a:lnTo>
                <a:lnTo>
                  <a:pt x="78955" y="14932"/>
                </a:lnTo>
                <a:lnTo>
                  <a:pt x="78648" y="14932"/>
                </a:lnTo>
                <a:lnTo>
                  <a:pt x="78955" y="14830"/>
                </a:lnTo>
                <a:lnTo>
                  <a:pt x="78648" y="14625"/>
                </a:lnTo>
                <a:lnTo>
                  <a:pt x="78034" y="14625"/>
                </a:lnTo>
                <a:lnTo>
                  <a:pt x="77830" y="14216"/>
                </a:lnTo>
                <a:lnTo>
                  <a:pt x="78034" y="14114"/>
                </a:lnTo>
                <a:lnTo>
                  <a:pt x="77523" y="14011"/>
                </a:lnTo>
                <a:lnTo>
                  <a:pt x="77727" y="13807"/>
                </a:lnTo>
                <a:lnTo>
                  <a:pt x="77318" y="13398"/>
                </a:lnTo>
                <a:lnTo>
                  <a:pt x="78341" y="13602"/>
                </a:lnTo>
                <a:lnTo>
                  <a:pt x="78136" y="13193"/>
                </a:lnTo>
                <a:lnTo>
                  <a:pt x="78545" y="13091"/>
                </a:lnTo>
                <a:lnTo>
                  <a:pt x="79466" y="13398"/>
                </a:lnTo>
                <a:lnTo>
                  <a:pt x="79159" y="13602"/>
                </a:lnTo>
                <a:lnTo>
                  <a:pt x="79159" y="13602"/>
                </a:lnTo>
                <a:lnTo>
                  <a:pt x="80284" y="13295"/>
                </a:lnTo>
                <a:lnTo>
                  <a:pt x="79466" y="13909"/>
                </a:lnTo>
                <a:lnTo>
                  <a:pt x="79568" y="14318"/>
                </a:lnTo>
                <a:lnTo>
                  <a:pt x="79977" y="14114"/>
                </a:lnTo>
                <a:lnTo>
                  <a:pt x="80182" y="14420"/>
                </a:lnTo>
                <a:lnTo>
                  <a:pt x="80489" y="14420"/>
                </a:lnTo>
                <a:lnTo>
                  <a:pt x="80693" y="13909"/>
                </a:lnTo>
                <a:lnTo>
                  <a:pt x="80489" y="13909"/>
                </a:lnTo>
                <a:lnTo>
                  <a:pt x="81818" y="13602"/>
                </a:lnTo>
                <a:lnTo>
                  <a:pt x="81511" y="13398"/>
                </a:lnTo>
                <a:lnTo>
                  <a:pt x="81716" y="13295"/>
                </a:lnTo>
                <a:lnTo>
                  <a:pt x="81614" y="13193"/>
                </a:lnTo>
                <a:lnTo>
                  <a:pt x="82023" y="13295"/>
                </a:lnTo>
                <a:lnTo>
                  <a:pt x="82023" y="12989"/>
                </a:lnTo>
                <a:lnTo>
                  <a:pt x="82227" y="12989"/>
                </a:lnTo>
                <a:lnTo>
                  <a:pt x="82227" y="12682"/>
                </a:lnTo>
                <a:lnTo>
                  <a:pt x="81000" y="12886"/>
                </a:lnTo>
                <a:lnTo>
                  <a:pt x="81716" y="12477"/>
                </a:lnTo>
                <a:lnTo>
                  <a:pt x="80591" y="12375"/>
                </a:lnTo>
                <a:lnTo>
                  <a:pt x="81307" y="12170"/>
                </a:lnTo>
                <a:lnTo>
                  <a:pt x="80591" y="11966"/>
                </a:lnTo>
                <a:lnTo>
                  <a:pt x="80795" y="11864"/>
                </a:lnTo>
                <a:lnTo>
                  <a:pt x="80284" y="12068"/>
                </a:lnTo>
                <a:lnTo>
                  <a:pt x="80386" y="11864"/>
                </a:lnTo>
                <a:lnTo>
                  <a:pt x="80080" y="11864"/>
                </a:lnTo>
                <a:lnTo>
                  <a:pt x="80182" y="11761"/>
                </a:lnTo>
                <a:lnTo>
                  <a:pt x="79670" y="11966"/>
                </a:lnTo>
                <a:lnTo>
                  <a:pt x="80080" y="11557"/>
                </a:lnTo>
                <a:lnTo>
                  <a:pt x="79670" y="11761"/>
                </a:lnTo>
                <a:lnTo>
                  <a:pt x="79466" y="11761"/>
                </a:lnTo>
                <a:lnTo>
                  <a:pt x="79568" y="11557"/>
                </a:lnTo>
                <a:lnTo>
                  <a:pt x="79773" y="11455"/>
                </a:lnTo>
                <a:lnTo>
                  <a:pt x="79057" y="11352"/>
                </a:lnTo>
                <a:lnTo>
                  <a:pt x="78955" y="11148"/>
                </a:lnTo>
                <a:lnTo>
                  <a:pt x="78239" y="11045"/>
                </a:lnTo>
                <a:lnTo>
                  <a:pt x="79466" y="10943"/>
                </a:lnTo>
                <a:lnTo>
                  <a:pt x="78648" y="10841"/>
                </a:lnTo>
                <a:lnTo>
                  <a:pt x="80284" y="10739"/>
                </a:lnTo>
                <a:lnTo>
                  <a:pt x="78648" y="10534"/>
                </a:lnTo>
                <a:lnTo>
                  <a:pt x="80080" y="10330"/>
                </a:lnTo>
                <a:lnTo>
                  <a:pt x="79670" y="10023"/>
                </a:lnTo>
                <a:lnTo>
                  <a:pt x="79057" y="10125"/>
                </a:lnTo>
                <a:lnTo>
                  <a:pt x="79364" y="9920"/>
                </a:lnTo>
                <a:lnTo>
                  <a:pt x="78443" y="10023"/>
                </a:lnTo>
                <a:lnTo>
                  <a:pt x="79568" y="9716"/>
                </a:lnTo>
                <a:lnTo>
                  <a:pt x="79466" y="9409"/>
                </a:lnTo>
                <a:lnTo>
                  <a:pt x="78750" y="9409"/>
                </a:lnTo>
                <a:lnTo>
                  <a:pt x="77625" y="10023"/>
                </a:lnTo>
                <a:lnTo>
                  <a:pt x="77420" y="9716"/>
                </a:lnTo>
                <a:lnTo>
                  <a:pt x="78545" y="9205"/>
                </a:lnTo>
                <a:lnTo>
                  <a:pt x="77216" y="9409"/>
                </a:lnTo>
                <a:lnTo>
                  <a:pt x="77216" y="9409"/>
                </a:lnTo>
                <a:lnTo>
                  <a:pt x="78341" y="8898"/>
                </a:lnTo>
                <a:lnTo>
                  <a:pt x="76500" y="8898"/>
                </a:lnTo>
                <a:lnTo>
                  <a:pt x="77011" y="8591"/>
                </a:lnTo>
                <a:lnTo>
                  <a:pt x="75886" y="9000"/>
                </a:lnTo>
                <a:lnTo>
                  <a:pt x="76398" y="8693"/>
                </a:lnTo>
                <a:lnTo>
                  <a:pt x="76091" y="8693"/>
                </a:lnTo>
                <a:lnTo>
                  <a:pt x="76807" y="8386"/>
                </a:lnTo>
                <a:lnTo>
                  <a:pt x="76807" y="8386"/>
                </a:lnTo>
                <a:lnTo>
                  <a:pt x="75580" y="8591"/>
                </a:lnTo>
                <a:lnTo>
                  <a:pt x="75580" y="8591"/>
                </a:lnTo>
                <a:lnTo>
                  <a:pt x="76500" y="8182"/>
                </a:lnTo>
                <a:lnTo>
                  <a:pt x="74761" y="7875"/>
                </a:lnTo>
                <a:lnTo>
                  <a:pt x="74761" y="7875"/>
                </a:lnTo>
                <a:lnTo>
                  <a:pt x="74864" y="8182"/>
                </a:lnTo>
                <a:lnTo>
                  <a:pt x="74045" y="8489"/>
                </a:lnTo>
                <a:lnTo>
                  <a:pt x="73739" y="8080"/>
                </a:lnTo>
                <a:lnTo>
                  <a:pt x="72511" y="8489"/>
                </a:lnTo>
                <a:lnTo>
                  <a:pt x="72818" y="8284"/>
                </a:lnTo>
                <a:lnTo>
                  <a:pt x="72716" y="8182"/>
                </a:lnTo>
                <a:lnTo>
                  <a:pt x="73125" y="7977"/>
                </a:lnTo>
                <a:lnTo>
                  <a:pt x="72614" y="8182"/>
                </a:lnTo>
                <a:lnTo>
                  <a:pt x="73534" y="7773"/>
                </a:lnTo>
                <a:lnTo>
                  <a:pt x="73227" y="6955"/>
                </a:lnTo>
                <a:close/>
                <a:moveTo>
                  <a:pt x="103500" y="0"/>
                </a:moveTo>
                <a:lnTo>
                  <a:pt x="103807" y="102"/>
                </a:lnTo>
                <a:lnTo>
                  <a:pt x="99205" y="205"/>
                </a:lnTo>
                <a:lnTo>
                  <a:pt x="101864" y="307"/>
                </a:lnTo>
                <a:lnTo>
                  <a:pt x="99614" y="409"/>
                </a:lnTo>
                <a:lnTo>
                  <a:pt x="100125" y="511"/>
                </a:lnTo>
                <a:lnTo>
                  <a:pt x="99818" y="818"/>
                </a:lnTo>
                <a:lnTo>
                  <a:pt x="97057" y="511"/>
                </a:lnTo>
                <a:lnTo>
                  <a:pt x="97057" y="818"/>
                </a:lnTo>
                <a:lnTo>
                  <a:pt x="94705" y="1023"/>
                </a:lnTo>
                <a:lnTo>
                  <a:pt x="94705" y="614"/>
                </a:lnTo>
                <a:lnTo>
                  <a:pt x="91841" y="818"/>
                </a:lnTo>
                <a:lnTo>
                  <a:pt x="92966" y="1227"/>
                </a:lnTo>
                <a:lnTo>
                  <a:pt x="90716" y="920"/>
                </a:lnTo>
                <a:lnTo>
                  <a:pt x="86625" y="1841"/>
                </a:lnTo>
                <a:lnTo>
                  <a:pt x="86932" y="2148"/>
                </a:lnTo>
                <a:lnTo>
                  <a:pt x="87955" y="2045"/>
                </a:lnTo>
                <a:lnTo>
                  <a:pt x="87955" y="2045"/>
                </a:lnTo>
                <a:lnTo>
                  <a:pt x="81818" y="3477"/>
                </a:lnTo>
                <a:lnTo>
                  <a:pt x="83148" y="3682"/>
                </a:lnTo>
                <a:lnTo>
                  <a:pt x="82841" y="3784"/>
                </a:lnTo>
                <a:lnTo>
                  <a:pt x="85091" y="3989"/>
                </a:lnTo>
                <a:lnTo>
                  <a:pt x="82023" y="4295"/>
                </a:lnTo>
                <a:lnTo>
                  <a:pt x="82125" y="4398"/>
                </a:lnTo>
                <a:lnTo>
                  <a:pt x="82125" y="4500"/>
                </a:lnTo>
                <a:lnTo>
                  <a:pt x="83557" y="4602"/>
                </a:lnTo>
                <a:lnTo>
                  <a:pt x="82534" y="4807"/>
                </a:lnTo>
                <a:lnTo>
                  <a:pt x="88568" y="5318"/>
                </a:lnTo>
                <a:lnTo>
                  <a:pt x="88568" y="5625"/>
                </a:lnTo>
                <a:lnTo>
                  <a:pt x="89489" y="6341"/>
                </a:lnTo>
                <a:lnTo>
                  <a:pt x="88670" y="6648"/>
                </a:lnTo>
                <a:lnTo>
                  <a:pt x="89386" y="6750"/>
                </a:lnTo>
                <a:lnTo>
                  <a:pt x="89182" y="7057"/>
                </a:lnTo>
                <a:lnTo>
                  <a:pt x="89386" y="7466"/>
                </a:lnTo>
                <a:lnTo>
                  <a:pt x="89386" y="7568"/>
                </a:lnTo>
                <a:lnTo>
                  <a:pt x="89591" y="7773"/>
                </a:lnTo>
                <a:lnTo>
                  <a:pt x="88977" y="7977"/>
                </a:lnTo>
                <a:lnTo>
                  <a:pt x="89080" y="8080"/>
                </a:lnTo>
                <a:lnTo>
                  <a:pt x="88773" y="8182"/>
                </a:lnTo>
                <a:lnTo>
                  <a:pt x="88773" y="8182"/>
                </a:lnTo>
                <a:lnTo>
                  <a:pt x="89386" y="8080"/>
                </a:lnTo>
                <a:lnTo>
                  <a:pt x="88568" y="8795"/>
                </a:lnTo>
                <a:lnTo>
                  <a:pt x="90102" y="8489"/>
                </a:lnTo>
                <a:lnTo>
                  <a:pt x="90102" y="8591"/>
                </a:lnTo>
                <a:lnTo>
                  <a:pt x="90205" y="8591"/>
                </a:lnTo>
                <a:lnTo>
                  <a:pt x="90205" y="8693"/>
                </a:lnTo>
                <a:lnTo>
                  <a:pt x="91023" y="8693"/>
                </a:lnTo>
                <a:lnTo>
                  <a:pt x="90000" y="9102"/>
                </a:lnTo>
                <a:lnTo>
                  <a:pt x="91227" y="9205"/>
                </a:lnTo>
                <a:lnTo>
                  <a:pt x="90716" y="9205"/>
                </a:lnTo>
                <a:lnTo>
                  <a:pt x="91023" y="9409"/>
                </a:lnTo>
                <a:lnTo>
                  <a:pt x="91227" y="9716"/>
                </a:lnTo>
                <a:lnTo>
                  <a:pt x="88875" y="9614"/>
                </a:lnTo>
                <a:lnTo>
                  <a:pt x="91330" y="10125"/>
                </a:lnTo>
                <a:lnTo>
                  <a:pt x="90511" y="10739"/>
                </a:lnTo>
                <a:lnTo>
                  <a:pt x="91023" y="10739"/>
                </a:lnTo>
                <a:lnTo>
                  <a:pt x="90511" y="10841"/>
                </a:lnTo>
                <a:lnTo>
                  <a:pt x="90205" y="11148"/>
                </a:lnTo>
                <a:lnTo>
                  <a:pt x="90511" y="11148"/>
                </a:lnTo>
                <a:lnTo>
                  <a:pt x="88568" y="11557"/>
                </a:lnTo>
                <a:lnTo>
                  <a:pt x="90102" y="11455"/>
                </a:lnTo>
                <a:lnTo>
                  <a:pt x="88057" y="12170"/>
                </a:lnTo>
                <a:lnTo>
                  <a:pt x="90102" y="11966"/>
                </a:lnTo>
                <a:lnTo>
                  <a:pt x="89898" y="12068"/>
                </a:lnTo>
                <a:lnTo>
                  <a:pt x="90205" y="12273"/>
                </a:lnTo>
                <a:lnTo>
                  <a:pt x="88261" y="12273"/>
                </a:lnTo>
                <a:lnTo>
                  <a:pt x="87955" y="12784"/>
                </a:lnTo>
                <a:lnTo>
                  <a:pt x="88773" y="12784"/>
                </a:lnTo>
                <a:lnTo>
                  <a:pt x="87648" y="13500"/>
                </a:lnTo>
                <a:lnTo>
                  <a:pt x="89489" y="12784"/>
                </a:lnTo>
                <a:lnTo>
                  <a:pt x="89489" y="12784"/>
                </a:lnTo>
                <a:lnTo>
                  <a:pt x="87750" y="13602"/>
                </a:lnTo>
                <a:lnTo>
                  <a:pt x="87852" y="13602"/>
                </a:lnTo>
                <a:lnTo>
                  <a:pt x="87750" y="14011"/>
                </a:lnTo>
                <a:lnTo>
                  <a:pt x="89182" y="13807"/>
                </a:lnTo>
                <a:lnTo>
                  <a:pt x="88261" y="14114"/>
                </a:lnTo>
                <a:lnTo>
                  <a:pt x="88057" y="15239"/>
                </a:lnTo>
                <a:lnTo>
                  <a:pt x="88773" y="14727"/>
                </a:lnTo>
                <a:lnTo>
                  <a:pt x="89080" y="14318"/>
                </a:lnTo>
                <a:lnTo>
                  <a:pt x="89489" y="15034"/>
                </a:lnTo>
                <a:lnTo>
                  <a:pt x="88466" y="15034"/>
                </a:lnTo>
                <a:lnTo>
                  <a:pt x="88364" y="15341"/>
                </a:lnTo>
                <a:lnTo>
                  <a:pt x="89080" y="15136"/>
                </a:lnTo>
                <a:lnTo>
                  <a:pt x="88977" y="15239"/>
                </a:lnTo>
                <a:lnTo>
                  <a:pt x="89182" y="15239"/>
                </a:lnTo>
                <a:lnTo>
                  <a:pt x="88261" y="15443"/>
                </a:lnTo>
                <a:lnTo>
                  <a:pt x="88568" y="16466"/>
                </a:lnTo>
                <a:lnTo>
                  <a:pt x="89080" y="16261"/>
                </a:lnTo>
                <a:lnTo>
                  <a:pt x="88568" y="16773"/>
                </a:lnTo>
                <a:lnTo>
                  <a:pt x="89386" y="17182"/>
                </a:lnTo>
                <a:lnTo>
                  <a:pt x="88977" y="17591"/>
                </a:lnTo>
                <a:lnTo>
                  <a:pt x="89386" y="18205"/>
                </a:lnTo>
                <a:lnTo>
                  <a:pt x="89795" y="18205"/>
                </a:lnTo>
                <a:lnTo>
                  <a:pt x="89386" y="18409"/>
                </a:lnTo>
                <a:lnTo>
                  <a:pt x="89795" y="18409"/>
                </a:lnTo>
                <a:lnTo>
                  <a:pt x="89795" y="18307"/>
                </a:lnTo>
                <a:lnTo>
                  <a:pt x="91227" y="18000"/>
                </a:lnTo>
                <a:lnTo>
                  <a:pt x="91023" y="18614"/>
                </a:lnTo>
                <a:lnTo>
                  <a:pt x="91943" y="18511"/>
                </a:lnTo>
                <a:lnTo>
                  <a:pt x="91943" y="18511"/>
                </a:lnTo>
                <a:lnTo>
                  <a:pt x="91330" y="18920"/>
                </a:lnTo>
                <a:lnTo>
                  <a:pt x="91330" y="18920"/>
                </a:lnTo>
                <a:lnTo>
                  <a:pt x="92148" y="18818"/>
                </a:lnTo>
                <a:lnTo>
                  <a:pt x="92148" y="19227"/>
                </a:lnTo>
                <a:lnTo>
                  <a:pt x="92455" y="19227"/>
                </a:lnTo>
                <a:lnTo>
                  <a:pt x="92250" y="19125"/>
                </a:lnTo>
                <a:lnTo>
                  <a:pt x="92966" y="18920"/>
                </a:lnTo>
                <a:lnTo>
                  <a:pt x="92455" y="18614"/>
                </a:lnTo>
                <a:lnTo>
                  <a:pt x="93375" y="18409"/>
                </a:lnTo>
                <a:lnTo>
                  <a:pt x="93989" y="17591"/>
                </a:lnTo>
                <a:lnTo>
                  <a:pt x="93784" y="17489"/>
                </a:lnTo>
                <a:lnTo>
                  <a:pt x="94091" y="17386"/>
                </a:lnTo>
                <a:lnTo>
                  <a:pt x="94295" y="16670"/>
                </a:lnTo>
                <a:lnTo>
                  <a:pt x="93784" y="16568"/>
                </a:lnTo>
                <a:lnTo>
                  <a:pt x="94807" y="16364"/>
                </a:lnTo>
                <a:lnTo>
                  <a:pt x="94500" y="16159"/>
                </a:lnTo>
                <a:lnTo>
                  <a:pt x="95830" y="15648"/>
                </a:lnTo>
                <a:lnTo>
                  <a:pt x="95830" y="15239"/>
                </a:lnTo>
                <a:lnTo>
                  <a:pt x="95216" y="15136"/>
                </a:lnTo>
                <a:lnTo>
                  <a:pt x="96136" y="15034"/>
                </a:lnTo>
                <a:lnTo>
                  <a:pt x="95830" y="14625"/>
                </a:lnTo>
                <a:lnTo>
                  <a:pt x="96955" y="14216"/>
                </a:lnTo>
                <a:lnTo>
                  <a:pt x="96545" y="14011"/>
                </a:lnTo>
                <a:lnTo>
                  <a:pt x="98489" y="13398"/>
                </a:lnTo>
                <a:lnTo>
                  <a:pt x="98182" y="13295"/>
                </a:lnTo>
                <a:lnTo>
                  <a:pt x="98795" y="13295"/>
                </a:lnTo>
                <a:lnTo>
                  <a:pt x="98386" y="13909"/>
                </a:lnTo>
                <a:lnTo>
                  <a:pt x="99205" y="13602"/>
                </a:lnTo>
                <a:lnTo>
                  <a:pt x="99307" y="13705"/>
                </a:lnTo>
                <a:lnTo>
                  <a:pt x="102580" y="11659"/>
                </a:lnTo>
                <a:lnTo>
                  <a:pt x="102682" y="11455"/>
                </a:lnTo>
                <a:lnTo>
                  <a:pt x="109125" y="10227"/>
                </a:lnTo>
                <a:lnTo>
                  <a:pt x="109023" y="10227"/>
                </a:lnTo>
                <a:lnTo>
                  <a:pt x="109636" y="10023"/>
                </a:lnTo>
                <a:lnTo>
                  <a:pt x="106159" y="10023"/>
                </a:lnTo>
                <a:lnTo>
                  <a:pt x="106977" y="9716"/>
                </a:lnTo>
                <a:lnTo>
                  <a:pt x="105239" y="9716"/>
                </a:lnTo>
                <a:lnTo>
                  <a:pt x="105852" y="9205"/>
                </a:lnTo>
                <a:lnTo>
                  <a:pt x="107386" y="9205"/>
                </a:lnTo>
                <a:lnTo>
                  <a:pt x="106773" y="8693"/>
                </a:lnTo>
                <a:lnTo>
                  <a:pt x="108409" y="9102"/>
                </a:lnTo>
                <a:lnTo>
                  <a:pt x="109023" y="9716"/>
                </a:lnTo>
                <a:lnTo>
                  <a:pt x="109636" y="9307"/>
                </a:lnTo>
                <a:lnTo>
                  <a:pt x="109636" y="9716"/>
                </a:lnTo>
                <a:lnTo>
                  <a:pt x="110148" y="9307"/>
                </a:lnTo>
                <a:lnTo>
                  <a:pt x="110148" y="8795"/>
                </a:lnTo>
                <a:lnTo>
                  <a:pt x="109739" y="9000"/>
                </a:lnTo>
                <a:lnTo>
                  <a:pt x="110148" y="8591"/>
                </a:lnTo>
                <a:lnTo>
                  <a:pt x="108205" y="8080"/>
                </a:lnTo>
                <a:lnTo>
                  <a:pt x="108511" y="7977"/>
                </a:lnTo>
                <a:lnTo>
                  <a:pt x="108307" y="7670"/>
                </a:lnTo>
                <a:lnTo>
                  <a:pt x="107284" y="7773"/>
                </a:lnTo>
                <a:lnTo>
                  <a:pt x="107284" y="7773"/>
                </a:lnTo>
                <a:lnTo>
                  <a:pt x="108211" y="7587"/>
                </a:lnTo>
                <a:lnTo>
                  <a:pt x="108211" y="7587"/>
                </a:lnTo>
                <a:lnTo>
                  <a:pt x="106875" y="7466"/>
                </a:lnTo>
                <a:lnTo>
                  <a:pt x="107489" y="7364"/>
                </a:lnTo>
                <a:lnTo>
                  <a:pt x="107080" y="7159"/>
                </a:lnTo>
                <a:lnTo>
                  <a:pt x="108716" y="7159"/>
                </a:lnTo>
                <a:lnTo>
                  <a:pt x="108307" y="6852"/>
                </a:lnTo>
                <a:lnTo>
                  <a:pt x="111375" y="7159"/>
                </a:lnTo>
                <a:lnTo>
                  <a:pt x="111068" y="6750"/>
                </a:lnTo>
                <a:lnTo>
                  <a:pt x="110352" y="6750"/>
                </a:lnTo>
                <a:lnTo>
                  <a:pt x="110352" y="6545"/>
                </a:lnTo>
                <a:lnTo>
                  <a:pt x="110659" y="6239"/>
                </a:lnTo>
                <a:lnTo>
                  <a:pt x="110557" y="6545"/>
                </a:lnTo>
                <a:lnTo>
                  <a:pt x="112295" y="6443"/>
                </a:lnTo>
                <a:lnTo>
                  <a:pt x="111989" y="6034"/>
                </a:lnTo>
                <a:lnTo>
                  <a:pt x="111273" y="6239"/>
                </a:lnTo>
                <a:lnTo>
                  <a:pt x="111273" y="5830"/>
                </a:lnTo>
                <a:lnTo>
                  <a:pt x="110557" y="5830"/>
                </a:lnTo>
                <a:lnTo>
                  <a:pt x="111784" y="5727"/>
                </a:lnTo>
                <a:lnTo>
                  <a:pt x="112091" y="5830"/>
                </a:lnTo>
                <a:lnTo>
                  <a:pt x="112193" y="5011"/>
                </a:lnTo>
                <a:lnTo>
                  <a:pt x="111375" y="4909"/>
                </a:lnTo>
                <a:lnTo>
                  <a:pt x="111068" y="4705"/>
                </a:lnTo>
                <a:lnTo>
                  <a:pt x="110659" y="4602"/>
                </a:lnTo>
                <a:lnTo>
                  <a:pt x="113011" y="4500"/>
                </a:lnTo>
                <a:lnTo>
                  <a:pt x="113216" y="4091"/>
                </a:lnTo>
                <a:lnTo>
                  <a:pt x="111989" y="3886"/>
                </a:lnTo>
                <a:lnTo>
                  <a:pt x="112807" y="3886"/>
                </a:lnTo>
                <a:lnTo>
                  <a:pt x="111580" y="3784"/>
                </a:lnTo>
                <a:lnTo>
                  <a:pt x="112091" y="3170"/>
                </a:lnTo>
                <a:lnTo>
                  <a:pt x="111989" y="3068"/>
                </a:lnTo>
                <a:lnTo>
                  <a:pt x="113114" y="2557"/>
                </a:lnTo>
                <a:lnTo>
                  <a:pt x="112909" y="2352"/>
                </a:lnTo>
                <a:lnTo>
                  <a:pt x="113216" y="1943"/>
                </a:lnTo>
                <a:lnTo>
                  <a:pt x="115261" y="1841"/>
                </a:lnTo>
                <a:lnTo>
                  <a:pt x="114750" y="1739"/>
                </a:lnTo>
                <a:lnTo>
                  <a:pt x="116284" y="1534"/>
                </a:lnTo>
                <a:lnTo>
                  <a:pt x="116080" y="1432"/>
                </a:lnTo>
                <a:lnTo>
                  <a:pt x="117818" y="1125"/>
                </a:lnTo>
                <a:lnTo>
                  <a:pt x="111273" y="1636"/>
                </a:lnTo>
                <a:lnTo>
                  <a:pt x="111273" y="1636"/>
                </a:lnTo>
                <a:lnTo>
                  <a:pt x="112398" y="1125"/>
                </a:lnTo>
                <a:lnTo>
                  <a:pt x="107898" y="818"/>
                </a:lnTo>
                <a:lnTo>
                  <a:pt x="112500" y="409"/>
                </a:lnTo>
                <a:lnTo>
                  <a:pt x="106977" y="205"/>
                </a:lnTo>
                <a:lnTo>
                  <a:pt x="110352" y="0"/>
                </a:lnTo>
                <a:close/>
                <a:moveTo>
                  <a:pt x="5114" y="22807"/>
                </a:moveTo>
                <a:lnTo>
                  <a:pt x="5069" y="22823"/>
                </a:lnTo>
                <a:lnTo>
                  <a:pt x="5069" y="22823"/>
                </a:lnTo>
                <a:lnTo>
                  <a:pt x="5011" y="22909"/>
                </a:lnTo>
                <a:lnTo>
                  <a:pt x="5114" y="22807"/>
                </a:lnTo>
                <a:close/>
                <a:moveTo>
                  <a:pt x="133057" y="23011"/>
                </a:moveTo>
                <a:lnTo>
                  <a:pt x="132955" y="23216"/>
                </a:lnTo>
                <a:lnTo>
                  <a:pt x="132443" y="23216"/>
                </a:lnTo>
                <a:lnTo>
                  <a:pt x="132955" y="23727"/>
                </a:lnTo>
                <a:lnTo>
                  <a:pt x="133261" y="23727"/>
                </a:lnTo>
                <a:lnTo>
                  <a:pt x="133568" y="23216"/>
                </a:lnTo>
                <a:lnTo>
                  <a:pt x="133057" y="23011"/>
                </a:lnTo>
                <a:close/>
                <a:moveTo>
                  <a:pt x="1125" y="23625"/>
                </a:moveTo>
                <a:lnTo>
                  <a:pt x="102" y="24034"/>
                </a:lnTo>
                <a:lnTo>
                  <a:pt x="1120" y="23634"/>
                </a:lnTo>
                <a:lnTo>
                  <a:pt x="1120" y="23634"/>
                </a:lnTo>
                <a:lnTo>
                  <a:pt x="1125" y="23625"/>
                </a:lnTo>
                <a:close/>
                <a:moveTo>
                  <a:pt x="102" y="24034"/>
                </a:moveTo>
                <a:lnTo>
                  <a:pt x="102" y="24034"/>
                </a:lnTo>
                <a:lnTo>
                  <a:pt x="102" y="24034"/>
                </a:lnTo>
                <a:close/>
                <a:moveTo>
                  <a:pt x="138170" y="24136"/>
                </a:moveTo>
                <a:lnTo>
                  <a:pt x="138375" y="24239"/>
                </a:lnTo>
                <a:lnTo>
                  <a:pt x="138477" y="24239"/>
                </a:lnTo>
                <a:lnTo>
                  <a:pt x="138170" y="24136"/>
                </a:lnTo>
                <a:close/>
                <a:moveTo>
                  <a:pt x="118534" y="23523"/>
                </a:moveTo>
                <a:lnTo>
                  <a:pt x="118636" y="23625"/>
                </a:lnTo>
                <a:lnTo>
                  <a:pt x="118330" y="23932"/>
                </a:lnTo>
                <a:lnTo>
                  <a:pt x="118330" y="23727"/>
                </a:lnTo>
                <a:lnTo>
                  <a:pt x="117818" y="23830"/>
                </a:lnTo>
                <a:lnTo>
                  <a:pt x="117511" y="24239"/>
                </a:lnTo>
                <a:lnTo>
                  <a:pt x="117920" y="24239"/>
                </a:lnTo>
                <a:lnTo>
                  <a:pt x="117614" y="24648"/>
                </a:lnTo>
                <a:lnTo>
                  <a:pt x="116489" y="24750"/>
                </a:lnTo>
                <a:lnTo>
                  <a:pt x="116591" y="24852"/>
                </a:lnTo>
                <a:lnTo>
                  <a:pt x="116591" y="25057"/>
                </a:lnTo>
                <a:lnTo>
                  <a:pt x="116795" y="24955"/>
                </a:lnTo>
                <a:lnTo>
                  <a:pt x="116693" y="25261"/>
                </a:lnTo>
                <a:lnTo>
                  <a:pt x="116386" y="25364"/>
                </a:lnTo>
                <a:lnTo>
                  <a:pt x="116386" y="25466"/>
                </a:lnTo>
                <a:lnTo>
                  <a:pt x="116591" y="25466"/>
                </a:lnTo>
                <a:lnTo>
                  <a:pt x="116591" y="25568"/>
                </a:lnTo>
                <a:lnTo>
                  <a:pt x="117307" y="25670"/>
                </a:lnTo>
                <a:lnTo>
                  <a:pt x="116489" y="26284"/>
                </a:lnTo>
                <a:lnTo>
                  <a:pt x="116489" y="26284"/>
                </a:lnTo>
                <a:lnTo>
                  <a:pt x="117409" y="26182"/>
                </a:lnTo>
                <a:lnTo>
                  <a:pt x="116489" y="26489"/>
                </a:lnTo>
                <a:lnTo>
                  <a:pt x="116591" y="26591"/>
                </a:lnTo>
                <a:lnTo>
                  <a:pt x="116080" y="26693"/>
                </a:lnTo>
                <a:lnTo>
                  <a:pt x="116489" y="26693"/>
                </a:lnTo>
                <a:lnTo>
                  <a:pt x="116080" y="27000"/>
                </a:lnTo>
                <a:lnTo>
                  <a:pt x="116693" y="27000"/>
                </a:lnTo>
                <a:lnTo>
                  <a:pt x="116284" y="27205"/>
                </a:lnTo>
                <a:lnTo>
                  <a:pt x="116284" y="27205"/>
                </a:lnTo>
                <a:lnTo>
                  <a:pt x="116693" y="27102"/>
                </a:lnTo>
                <a:lnTo>
                  <a:pt x="116489" y="27307"/>
                </a:lnTo>
                <a:lnTo>
                  <a:pt x="119250" y="26591"/>
                </a:lnTo>
                <a:lnTo>
                  <a:pt x="119148" y="26489"/>
                </a:lnTo>
                <a:lnTo>
                  <a:pt x="119455" y="24852"/>
                </a:lnTo>
                <a:lnTo>
                  <a:pt x="119352" y="24750"/>
                </a:lnTo>
                <a:lnTo>
                  <a:pt x="119966" y="24545"/>
                </a:lnTo>
                <a:lnTo>
                  <a:pt x="119864" y="24341"/>
                </a:lnTo>
                <a:lnTo>
                  <a:pt x="119659" y="24239"/>
                </a:lnTo>
                <a:lnTo>
                  <a:pt x="119455" y="23727"/>
                </a:lnTo>
                <a:lnTo>
                  <a:pt x="118636" y="23830"/>
                </a:lnTo>
                <a:lnTo>
                  <a:pt x="118841" y="23625"/>
                </a:lnTo>
                <a:lnTo>
                  <a:pt x="118534" y="23523"/>
                </a:lnTo>
                <a:close/>
                <a:moveTo>
                  <a:pt x="121398" y="20455"/>
                </a:moveTo>
                <a:lnTo>
                  <a:pt x="120477" y="20761"/>
                </a:lnTo>
                <a:lnTo>
                  <a:pt x="119966" y="21682"/>
                </a:lnTo>
                <a:lnTo>
                  <a:pt x="119761" y="22091"/>
                </a:lnTo>
                <a:lnTo>
                  <a:pt x="119864" y="22091"/>
                </a:lnTo>
                <a:lnTo>
                  <a:pt x="119557" y="22295"/>
                </a:lnTo>
                <a:lnTo>
                  <a:pt x="120273" y="22193"/>
                </a:lnTo>
                <a:lnTo>
                  <a:pt x="119966" y="23523"/>
                </a:lnTo>
                <a:lnTo>
                  <a:pt x="120170" y="23011"/>
                </a:lnTo>
                <a:lnTo>
                  <a:pt x="120580" y="22807"/>
                </a:lnTo>
                <a:lnTo>
                  <a:pt x="120682" y="23011"/>
                </a:lnTo>
                <a:lnTo>
                  <a:pt x="120375" y="24239"/>
                </a:lnTo>
                <a:lnTo>
                  <a:pt x="121807" y="23932"/>
                </a:lnTo>
                <a:lnTo>
                  <a:pt x="122011" y="25568"/>
                </a:lnTo>
                <a:lnTo>
                  <a:pt x="120580" y="26080"/>
                </a:lnTo>
                <a:lnTo>
                  <a:pt x="120580" y="26080"/>
                </a:lnTo>
                <a:lnTo>
                  <a:pt x="120989" y="25977"/>
                </a:lnTo>
                <a:lnTo>
                  <a:pt x="121091" y="26284"/>
                </a:lnTo>
                <a:lnTo>
                  <a:pt x="120068" y="27000"/>
                </a:lnTo>
                <a:lnTo>
                  <a:pt x="120989" y="27205"/>
                </a:lnTo>
                <a:lnTo>
                  <a:pt x="120886" y="27307"/>
                </a:lnTo>
                <a:lnTo>
                  <a:pt x="121602" y="27409"/>
                </a:lnTo>
                <a:lnTo>
                  <a:pt x="122216" y="27102"/>
                </a:lnTo>
                <a:lnTo>
                  <a:pt x="121602" y="27614"/>
                </a:lnTo>
                <a:lnTo>
                  <a:pt x="120989" y="27614"/>
                </a:lnTo>
                <a:lnTo>
                  <a:pt x="119761" y="28739"/>
                </a:lnTo>
                <a:lnTo>
                  <a:pt x="120068" y="28841"/>
                </a:lnTo>
                <a:lnTo>
                  <a:pt x="120375" y="28534"/>
                </a:lnTo>
                <a:lnTo>
                  <a:pt x="121091" y="28534"/>
                </a:lnTo>
                <a:lnTo>
                  <a:pt x="121807" y="28125"/>
                </a:lnTo>
                <a:lnTo>
                  <a:pt x="122625" y="28227"/>
                </a:lnTo>
                <a:lnTo>
                  <a:pt x="122523" y="28125"/>
                </a:lnTo>
                <a:lnTo>
                  <a:pt x="123136" y="28023"/>
                </a:lnTo>
                <a:lnTo>
                  <a:pt x="123034" y="27920"/>
                </a:lnTo>
                <a:lnTo>
                  <a:pt x="124773" y="27920"/>
                </a:lnTo>
                <a:lnTo>
                  <a:pt x="125182" y="27409"/>
                </a:lnTo>
                <a:lnTo>
                  <a:pt x="124466" y="27409"/>
                </a:lnTo>
                <a:lnTo>
                  <a:pt x="125080" y="26898"/>
                </a:lnTo>
                <a:lnTo>
                  <a:pt x="125284" y="25977"/>
                </a:lnTo>
                <a:lnTo>
                  <a:pt x="124159" y="25977"/>
                </a:lnTo>
                <a:lnTo>
                  <a:pt x="123648" y="25159"/>
                </a:lnTo>
                <a:lnTo>
                  <a:pt x="124261" y="25261"/>
                </a:lnTo>
                <a:lnTo>
                  <a:pt x="124261" y="25261"/>
                </a:lnTo>
                <a:lnTo>
                  <a:pt x="124057" y="24750"/>
                </a:lnTo>
                <a:lnTo>
                  <a:pt x="123239" y="24239"/>
                </a:lnTo>
                <a:lnTo>
                  <a:pt x="122932" y="23420"/>
                </a:lnTo>
                <a:lnTo>
                  <a:pt x="121295" y="22807"/>
                </a:lnTo>
                <a:lnTo>
                  <a:pt x="122011" y="22705"/>
                </a:lnTo>
                <a:lnTo>
                  <a:pt x="121705" y="22602"/>
                </a:lnTo>
                <a:lnTo>
                  <a:pt x="122318" y="22295"/>
                </a:lnTo>
                <a:lnTo>
                  <a:pt x="122830" y="21580"/>
                </a:lnTo>
                <a:lnTo>
                  <a:pt x="121091" y="21375"/>
                </a:lnTo>
                <a:lnTo>
                  <a:pt x="121295" y="21170"/>
                </a:lnTo>
                <a:lnTo>
                  <a:pt x="121193" y="21170"/>
                </a:lnTo>
                <a:lnTo>
                  <a:pt x="121807" y="20659"/>
                </a:lnTo>
                <a:lnTo>
                  <a:pt x="121398" y="20455"/>
                </a:lnTo>
                <a:close/>
                <a:moveTo>
                  <a:pt x="23830" y="27920"/>
                </a:moveTo>
                <a:lnTo>
                  <a:pt x="23523" y="28330"/>
                </a:lnTo>
                <a:lnTo>
                  <a:pt x="24034" y="28227"/>
                </a:lnTo>
                <a:lnTo>
                  <a:pt x="23932" y="28432"/>
                </a:lnTo>
                <a:lnTo>
                  <a:pt x="23523" y="28534"/>
                </a:lnTo>
                <a:lnTo>
                  <a:pt x="23625" y="28534"/>
                </a:lnTo>
                <a:lnTo>
                  <a:pt x="23420" y="28739"/>
                </a:lnTo>
                <a:lnTo>
                  <a:pt x="23830" y="28739"/>
                </a:lnTo>
                <a:lnTo>
                  <a:pt x="23932" y="28636"/>
                </a:lnTo>
                <a:lnTo>
                  <a:pt x="24034" y="28943"/>
                </a:lnTo>
                <a:lnTo>
                  <a:pt x="24443" y="29148"/>
                </a:lnTo>
                <a:lnTo>
                  <a:pt x="24034" y="29455"/>
                </a:lnTo>
                <a:lnTo>
                  <a:pt x="24443" y="29455"/>
                </a:lnTo>
                <a:lnTo>
                  <a:pt x="24341" y="29557"/>
                </a:lnTo>
                <a:lnTo>
                  <a:pt x="24545" y="29659"/>
                </a:lnTo>
                <a:lnTo>
                  <a:pt x="24341" y="29761"/>
                </a:lnTo>
                <a:lnTo>
                  <a:pt x="25261" y="29557"/>
                </a:lnTo>
                <a:lnTo>
                  <a:pt x="25057" y="30273"/>
                </a:lnTo>
                <a:lnTo>
                  <a:pt x="25057" y="30273"/>
                </a:lnTo>
                <a:lnTo>
                  <a:pt x="25875" y="30170"/>
                </a:lnTo>
                <a:lnTo>
                  <a:pt x="25466" y="28534"/>
                </a:lnTo>
                <a:lnTo>
                  <a:pt x="23830" y="27920"/>
                </a:lnTo>
                <a:close/>
                <a:moveTo>
                  <a:pt x="25875" y="30170"/>
                </a:moveTo>
                <a:lnTo>
                  <a:pt x="25875" y="30273"/>
                </a:lnTo>
                <a:lnTo>
                  <a:pt x="25977" y="30170"/>
                </a:lnTo>
                <a:close/>
                <a:moveTo>
                  <a:pt x="72102" y="30989"/>
                </a:moveTo>
                <a:lnTo>
                  <a:pt x="72146" y="31003"/>
                </a:lnTo>
                <a:lnTo>
                  <a:pt x="72146" y="31003"/>
                </a:lnTo>
                <a:lnTo>
                  <a:pt x="72205" y="30989"/>
                </a:lnTo>
                <a:close/>
                <a:moveTo>
                  <a:pt x="25568" y="31398"/>
                </a:moveTo>
                <a:lnTo>
                  <a:pt x="25364" y="31500"/>
                </a:lnTo>
                <a:lnTo>
                  <a:pt x="25364" y="31500"/>
                </a:lnTo>
                <a:lnTo>
                  <a:pt x="25466" y="31398"/>
                </a:lnTo>
                <a:close/>
                <a:moveTo>
                  <a:pt x="80386" y="31500"/>
                </a:moveTo>
                <a:lnTo>
                  <a:pt x="80386" y="31500"/>
                </a:lnTo>
                <a:lnTo>
                  <a:pt x="80386" y="31500"/>
                </a:lnTo>
                <a:close/>
                <a:moveTo>
                  <a:pt x="80693" y="27307"/>
                </a:moveTo>
                <a:lnTo>
                  <a:pt x="80182" y="27409"/>
                </a:lnTo>
                <a:lnTo>
                  <a:pt x="78136" y="29864"/>
                </a:lnTo>
                <a:lnTo>
                  <a:pt x="77625" y="29966"/>
                </a:lnTo>
                <a:lnTo>
                  <a:pt x="77318" y="30170"/>
                </a:lnTo>
                <a:lnTo>
                  <a:pt x="77420" y="30068"/>
                </a:lnTo>
                <a:lnTo>
                  <a:pt x="77011" y="30273"/>
                </a:lnTo>
                <a:lnTo>
                  <a:pt x="77727" y="30273"/>
                </a:lnTo>
                <a:lnTo>
                  <a:pt x="76705" y="30989"/>
                </a:lnTo>
                <a:lnTo>
                  <a:pt x="79466" y="30989"/>
                </a:lnTo>
                <a:lnTo>
                  <a:pt x="79159" y="31295"/>
                </a:lnTo>
                <a:lnTo>
                  <a:pt x="80284" y="31193"/>
                </a:lnTo>
                <a:lnTo>
                  <a:pt x="79261" y="32011"/>
                </a:lnTo>
                <a:lnTo>
                  <a:pt x="80489" y="31295"/>
                </a:lnTo>
                <a:lnTo>
                  <a:pt x="80386" y="31500"/>
                </a:lnTo>
                <a:lnTo>
                  <a:pt x="80795" y="30989"/>
                </a:lnTo>
                <a:lnTo>
                  <a:pt x="81000" y="31398"/>
                </a:lnTo>
                <a:lnTo>
                  <a:pt x="80591" y="32011"/>
                </a:lnTo>
                <a:lnTo>
                  <a:pt x="81102" y="31705"/>
                </a:lnTo>
                <a:lnTo>
                  <a:pt x="81000" y="32216"/>
                </a:lnTo>
                <a:lnTo>
                  <a:pt x="81000" y="32216"/>
                </a:lnTo>
                <a:lnTo>
                  <a:pt x="81409" y="32114"/>
                </a:lnTo>
                <a:lnTo>
                  <a:pt x="81920" y="31091"/>
                </a:lnTo>
                <a:lnTo>
                  <a:pt x="81511" y="31398"/>
                </a:lnTo>
                <a:lnTo>
                  <a:pt x="81920" y="30682"/>
                </a:lnTo>
                <a:lnTo>
                  <a:pt x="81205" y="31193"/>
                </a:lnTo>
                <a:lnTo>
                  <a:pt x="81205" y="31193"/>
                </a:lnTo>
                <a:lnTo>
                  <a:pt x="81307" y="30784"/>
                </a:lnTo>
                <a:lnTo>
                  <a:pt x="81102" y="30784"/>
                </a:lnTo>
                <a:lnTo>
                  <a:pt x="81920" y="30170"/>
                </a:lnTo>
                <a:lnTo>
                  <a:pt x="81920" y="30170"/>
                </a:lnTo>
                <a:lnTo>
                  <a:pt x="81000" y="30477"/>
                </a:lnTo>
                <a:lnTo>
                  <a:pt x="81409" y="30170"/>
                </a:lnTo>
                <a:lnTo>
                  <a:pt x="81205" y="30068"/>
                </a:lnTo>
                <a:lnTo>
                  <a:pt x="81307" y="29966"/>
                </a:lnTo>
                <a:lnTo>
                  <a:pt x="81102" y="30068"/>
                </a:lnTo>
                <a:lnTo>
                  <a:pt x="81716" y="29557"/>
                </a:lnTo>
                <a:lnTo>
                  <a:pt x="81000" y="29455"/>
                </a:lnTo>
                <a:lnTo>
                  <a:pt x="81102" y="29250"/>
                </a:lnTo>
                <a:lnTo>
                  <a:pt x="80284" y="29761"/>
                </a:lnTo>
                <a:lnTo>
                  <a:pt x="80489" y="29250"/>
                </a:lnTo>
                <a:lnTo>
                  <a:pt x="80489" y="29250"/>
                </a:lnTo>
                <a:lnTo>
                  <a:pt x="80284" y="29455"/>
                </a:lnTo>
                <a:lnTo>
                  <a:pt x="80386" y="29352"/>
                </a:lnTo>
                <a:lnTo>
                  <a:pt x="79773" y="29352"/>
                </a:lnTo>
                <a:lnTo>
                  <a:pt x="79977" y="29148"/>
                </a:lnTo>
                <a:lnTo>
                  <a:pt x="79773" y="29250"/>
                </a:lnTo>
                <a:lnTo>
                  <a:pt x="80386" y="28841"/>
                </a:lnTo>
                <a:lnTo>
                  <a:pt x="79261" y="29250"/>
                </a:lnTo>
                <a:lnTo>
                  <a:pt x="80489" y="27716"/>
                </a:lnTo>
                <a:lnTo>
                  <a:pt x="80591" y="27511"/>
                </a:lnTo>
                <a:lnTo>
                  <a:pt x="80898" y="27307"/>
                </a:lnTo>
                <a:close/>
                <a:moveTo>
                  <a:pt x="239523" y="32216"/>
                </a:moveTo>
                <a:lnTo>
                  <a:pt x="240239" y="32830"/>
                </a:lnTo>
                <a:lnTo>
                  <a:pt x="239727" y="32318"/>
                </a:lnTo>
                <a:lnTo>
                  <a:pt x="239523" y="32216"/>
                </a:lnTo>
                <a:close/>
                <a:moveTo>
                  <a:pt x="232875" y="24443"/>
                </a:moveTo>
                <a:lnTo>
                  <a:pt x="232773" y="24648"/>
                </a:lnTo>
                <a:lnTo>
                  <a:pt x="233591" y="25159"/>
                </a:lnTo>
                <a:lnTo>
                  <a:pt x="233489" y="25261"/>
                </a:lnTo>
                <a:lnTo>
                  <a:pt x="233386" y="25364"/>
                </a:lnTo>
                <a:lnTo>
                  <a:pt x="234511" y="27102"/>
                </a:lnTo>
                <a:lnTo>
                  <a:pt x="239216" y="32932"/>
                </a:lnTo>
                <a:lnTo>
                  <a:pt x="239114" y="32114"/>
                </a:lnTo>
                <a:lnTo>
                  <a:pt x="239523" y="32216"/>
                </a:lnTo>
                <a:lnTo>
                  <a:pt x="239523" y="32216"/>
                </a:lnTo>
                <a:lnTo>
                  <a:pt x="238193" y="31091"/>
                </a:lnTo>
                <a:lnTo>
                  <a:pt x="237784" y="29557"/>
                </a:lnTo>
                <a:lnTo>
                  <a:pt x="239318" y="30170"/>
                </a:lnTo>
                <a:lnTo>
                  <a:pt x="232875" y="24443"/>
                </a:lnTo>
                <a:close/>
                <a:moveTo>
                  <a:pt x="244841" y="33341"/>
                </a:moveTo>
                <a:lnTo>
                  <a:pt x="244330" y="33443"/>
                </a:lnTo>
                <a:lnTo>
                  <a:pt x="244432" y="33648"/>
                </a:lnTo>
                <a:lnTo>
                  <a:pt x="244125" y="34364"/>
                </a:lnTo>
                <a:lnTo>
                  <a:pt x="244125" y="34466"/>
                </a:lnTo>
                <a:lnTo>
                  <a:pt x="244330" y="33955"/>
                </a:lnTo>
                <a:lnTo>
                  <a:pt x="245045" y="33545"/>
                </a:lnTo>
                <a:lnTo>
                  <a:pt x="244841" y="33341"/>
                </a:lnTo>
                <a:close/>
                <a:moveTo>
                  <a:pt x="243409" y="34466"/>
                </a:moveTo>
                <a:lnTo>
                  <a:pt x="243409" y="35080"/>
                </a:lnTo>
                <a:lnTo>
                  <a:pt x="243614" y="35284"/>
                </a:lnTo>
                <a:lnTo>
                  <a:pt x="243920" y="34466"/>
                </a:lnTo>
                <a:close/>
                <a:moveTo>
                  <a:pt x="54102" y="29864"/>
                </a:moveTo>
                <a:lnTo>
                  <a:pt x="56352" y="30886"/>
                </a:lnTo>
                <a:lnTo>
                  <a:pt x="56045" y="31193"/>
                </a:lnTo>
                <a:lnTo>
                  <a:pt x="56250" y="31602"/>
                </a:lnTo>
                <a:lnTo>
                  <a:pt x="56045" y="31807"/>
                </a:lnTo>
                <a:lnTo>
                  <a:pt x="56250" y="32011"/>
                </a:lnTo>
                <a:lnTo>
                  <a:pt x="56045" y="32114"/>
                </a:lnTo>
                <a:lnTo>
                  <a:pt x="56148" y="32114"/>
                </a:lnTo>
                <a:lnTo>
                  <a:pt x="55943" y="32318"/>
                </a:lnTo>
                <a:lnTo>
                  <a:pt x="58193" y="32727"/>
                </a:lnTo>
                <a:lnTo>
                  <a:pt x="58091" y="32830"/>
                </a:lnTo>
                <a:lnTo>
                  <a:pt x="58500" y="32830"/>
                </a:lnTo>
                <a:lnTo>
                  <a:pt x="58500" y="32932"/>
                </a:lnTo>
                <a:lnTo>
                  <a:pt x="58909" y="33239"/>
                </a:lnTo>
                <a:lnTo>
                  <a:pt x="59114" y="34057"/>
                </a:lnTo>
                <a:lnTo>
                  <a:pt x="59216" y="34057"/>
                </a:lnTo>
                <a:lnTo>
                  <a:pt x="59216" y="34159"/>
                </a:lnTo>
                <a:lnTo>
                  <a:pt x="59011" y="34057"/>
                </a:lnTo>
                <a:lnTo>
                  <a:pt x="58807" y="34364"/>
                </a:lnTo>
                <a:lnTo>
                  <a:pt x="58091" y="34261"/>
                </a:lnTo>
                <a:lnTo>
                  <a:pt x="57989" y="34159"/>
                </a:lnTo>
                <a:lnTo>
                  <a:pt x="58193" y="33955"/>
                </a:lnTo>
                <a:lnTo>
                  <a:pt x="58091" y="33955"/>
                </a:lnTo>
                <a:lnTo>
                  <a:pt x="58091" y="33648"/>
                </a:lnTo>
                <a:lnTo>
                  <a:pt x="57682" y="33648"/>
                </a:lnTo>
                <a:lnTo>
                  <a:pt x="56250" y="35898"/>
                </a:lnTo>
                <a:lnTo>
                  <a:pt x="56045" y="34875"/>
                </a:lnTo>
                <a:lnTo>
                  <a:pt x="55330" y="35182"/>
                </a:lnTo>
                <a:lnTo>
                  <a:pt x="55330" y="35182"/>
                </a:lnTo>
                <a:lnTo>
                  <a:pt x="56352" y="33750"/>
                </a:lnTo>
                <a:lnTo>
                  <a:pt x="56250" y="33443"/>
                </a:lnTo>
                <a:lnTo>
                  <a:pt x="55330" y="33136"/>
                </a:lnTo>
                <a:lnTo>
                  <a:pt x="54409" y="34159"/>
                </a:lnTo>
                <a:lnTo>
                  <a:pt x="54614" y="33648"/>
                </a:lnTo>
                <a:lnTo>
                  <a:pt x="52568" y="36818"/>
                </a:lnTo>
                <a:lnTo>
                  <a:pt x="51545" y="37125"/>
                </a:lnTo>
                <a:lnTo>
                  <a:pt x="52773" y="34364"/>
                </a:lnTo>
                <a:lnTo>
                  <a:pt x="52364" y="34364"/>
                </a:lnTo>
                <a:lnTo>
                  <a:pt x="53693" y="32932"/>
                </a:lnTo>
                <a:lnTo>
                  <a:pt x="53693" y="33136"/>
                </a:lnTo>
                <a:lnTo>
                  <a:pt x="54102" y="32932"/>
                </a:lnTo>
                <a:lnTo>
                  <a:pt x="53898" y="33239"/>
                </a:lnTo>
                <a:lnTo>
                  <a:pt x="53898" y="33239"/>
                </a:lnTo>
                <a:lnTo>
                  <a:pt x="55125" y="32727"/>
                </a:lnTo>
                <a:lnTo>
                  <a:pt x="55534" y="32932"/>
                </a:lnTo>
                <a:lnTo>
                  <a:pt x="55636" y="32830"/>
                </a:lnTo>
                <a:lnTo>
                  <a:pt x="56250" y="32830"/>
                </a:lnTo>
                <a:lnTo>
                  <a:pt x="55534" y="32318"/>
                </a:lnTo>
                <a:lnTo>
                  <a:pt x="55739" y="32114"/>
                </a:lnTo>
                <a:lnTo>
                  <a:pt x="53693" y="32318"/>
                </a:lnTo>
                <a:lnTo>
                  <a:pt x="53591" y="32011"/>
                </a:lnTo>
                <a:lnTo>
                  <a:pt x="52977" y="32011"/>
                </a:lnTo>
                <a:lnTo>
                  <a:pt x="52977" y="31602"/>
                </a:lnTo>
                <a:lnTo>
                  <a:pt x="50830" y="32216"/>
                </a:lnTo>
                <a:lnTo>
                  <a:pt x="50830" y="31909"/>
                </a:lnTo>
                <a:lnTo>
                  <a:pt x="50011" y="32011"/>
                </a:lnTo>
                <a:lnTo>
                  <a:pt x="53489" y="30273"/>
                </a:lnTo>
                <a:lnTo>
                  <a:pt x="53489" y="30273"/>
                </a:lnTo>
                <a:lnTo>
                  <a:pt x="53693" y="30068"/>
                </a:lnTo>
                <a:lnTo>
                  <a:pt x="53898" y="30068"/>
                </a:lnTo>
                <a:lnTo>
                  <a:pt x="53591" y="30375"/>
                </a:lnTo>
                <a:lnTo>
                  <a:pt x="54102" y="30068"/>
                </a:lnTo>
                <a:lnTo>
                  <a:pt x="54102" y="29864"/>
                </a:lnTo>
                <a:close/>
                <a:moveTo>
                  <a:pt x="131932" y="36000"/>
                </a:moveTo>
                <a:lnTo>
                  <a:pt x="131830" y="36205"/>
                </a:lnTo>
                <a:lnTo>
                  <a:pt x="131216" y="36511"/>
                </a:lnTo>
                <a:lnTo>
                  <a:pt x="131318" y="36614"/>
                </a:lnTo>
                <a:lnTo>
                  <a:pt x="131318" y="37023"/>
                </a:lnTo>
                <a:lnTo>
                  <a:pt x="131830" y="37432"/>
                </a:lnTo>
                <a:lnTo>
                  <a:pt x="131932" y="36000"/>
                </a:lnTo>
                <a:close/>
                <a:moveTo>
                  <a:pt x="239216" y="33443"/>
                </a:moveTo>
                <a:lnTo>
                  <a:pt x="240341" y="35693"/>
                </a:lnTo>
                <a:lnTo>
                  <a:pt x="239625" y="35591"/>
                </a:lnTo>
                <a:lnTo>
                  <a:pt x="239625" y="36205"/>
                </a:lnTo>
                <a:lnTo>
                  <a:pt x="240750" y="37432"/>
                </a:lnTo>
                <a:lnTo>
                  <a:pt x="240750" y="37125"/>
                </a:lnTo>
                <a:lnTo>
                  <a:pt x="241159" y="37125"/>
                </a:lnTo>
                <a:lnTo>
                  <a:pt x="240239" y="36614"/>
                </a:lnTo>
                <a:lnTo>
                  <a:pt x="240341" y="36307"/>
                </a:lnTo>
                <a:lnTo>
                  <a:pt x="240750" y="36511"/>
                </a:lnTo>
                <a:lnTo>
                  <a:pt x="241364" y="36409"/>
                </a:lnTo>
                <a:lnTo>
                  <a:pt x="242795" y="36920"/>
                </a:lnTo>
                <a:lnTo>
                  <a:pt x="242693" y="36409"/>
                </a:lnTo>
                <a:lnTo>
                  <a:pt x="244023" y="35489"/>
                </a:lnTo>
                <a:lnTo>
                  <a:pt x="243716" y="35591"/>
                </a:lnTo>
                <a:lnTo>
                  <a:pt x="243205" y="35284"/>
                </a:lnTo>
                <a:lnTo>
                  <a:pt x="242898" y="34568"/>
                </a:lnTo>
                <a:lnTo>
                  <a:pt x="242284" y="34875"/>
                </a:lnTo>
                <a:lnTo>
                  <a:pt x="239216" y="33443"/>
                </a:lnTo>
                <a:close/>
                <a:moveTo>
                  <a:pt x="143693" y="38659"/>
                </a:moveTo>
                <a:lnTo>
                  <a:pt x="144000" y="38864"/>
                </a:lnTo>
                <a:lnTo>
                  <a:pt x="143740" y="38678"/>
                </a:lnTo>
                <a:lnTo>
                  <a:pt x="143740" y="38678"/>
                </a:lnTo>
                <a:lnTo>
                  <a:pt x="143693" y="38659"/>
                </a:lnTo>
                <a:close/>
                <a:moveTo>
                  <a:pt x="155250" y="31602"/>
                </a:moveTo>
                <a:lnTo>
                  <a:pt x="155148" y="31705"/>
                </a:lnTo>
                <a:lnTo>
                  <a:pt x="155659" y="31705"/>
                </a:lnTo>
                <a:lnTo>
                  <a:pt x="155148" y="32011"/>
                </a:lnTo>
                <a:lnTo>
                  <a:pt x="155148" y="32216"/>
                </a:lnTo>
                <a:lnTo>
                  <a:pt x="154636" y="32216"/>
                </a:lnTo>
                <a:lnTo>
                  <a:pt x="155250" y="32727"/>
                </a:lnTo>
                <a:lnTo>
                  <a:pt x="154943" y="32932"/>
                </a:lnTo>
                <a:lnTo>
                  <a:pt x="154739" y="33341"/>
                </a:lnTo>
                <a:lnTo>
                  <a:pt x="154023" y="33443"/>
                </a:lnTo>
                <a:lnTo>
                  <a:pt x="154125" y="33545"/>
                </a:lnTo>
                <a:lnTo>
                  <a:pt x="153920" y="33648"/>
                </a:lnTo>
                <a:lnTo>
                  <a:pt x="158318" y="36205"/>
                </a:lnTo>
                <a:lnTo>
                  <a:pt x="158318" y="37636"/>
                </a:lnTo>
                <a:lnTo>
                  <a:pt x="148398" y="37636"/>
                </a:lnTo>
                <a:lnTo>
                  <a:pt x="149011" y="38148"/>
                </a:lnTo>
                <a:lnTo>
                  <a:pt x="148193" y="38352"/>
                </a:lnTo>
                <a:lnTo>
                  <a:pt x="148398" y="38455"/>
                </a:lnTo>
                <a:lnTo>
                  <a:pt x="147477" y="38557"/>
                </a:lnTo>
                <a:lnTo>
                  <a:pt x="147273" y="38455"/>
                </a:lnTo>
                <a:lnTo>
                  <a:pt x="147273" y="38455"/>
                </a:lnTo>
                <a:lnTo>
                  <a:pt x="147375" y="38557"/>
                </a:lnTo>
                <a:lnTo>
                  <a:pt x="146761" y="38455"/>
                </a:lnTo>
                <a:lnTo>
                  <a:pt x="146045" y="38864"/>
                </a:lnTo>
                <a:lnTo>
                  <a:pt x="146045" y="38864"/>
                </a:lnTo>
                <a:lnTo>
                  <a:pt x="147580" y="37841"/>
                </a:lnTo>
                <a:lnTo>
                  <a:pt x="148091" y="37943"/>
                </a:lnTo>
                <a:lnTo>
                  <a:pt x="148091" y="37943"/>
                </a:lnTo>
                <a:lnTo>
                  <a:pt x="146864" y="36409"/>
                </a:lnTo>
                <a:lnTo>
                  <a:pt x="147682" y="34364"/>
                </a:lnTo>
                <a:lnTo>
                  <a:pt x="147886" y="33955"/>
                </a:lnTo>
                <a:lnTo>
                  <a:pt x="147886" y="34159"/>
                </a:lnTo>
                <a:lnTo>
                  <a:pt x="148295" y="33545"/>
                </a:lnTo>
                <a:lnTo>
                  <a:pt x="148193" y="33239"/>
                </a:lnTo>
                <a:lnTo>
                  <a:pt x="149523" y="32011"/>
                </a:lnTo>
                <a:lnTo>
                  <a:pt x="149830" y="32114"/>
                </a:lnTo>
                <a:lnTo>
                  <a:pt x="149625" y="31602"/>
                </a:lnTo>
                <a:lnTo>
                  <a:pt x="150443" y="32216"/>
                </a:lnTo>
                <a:lnTo>
                  <a:pt x="149625" y="32318"/>
                </a:lnTo>
                <a:lnTo>
                  <a:pt x="150341" y="32727"/>
                </a:lnTo>
                <a:lnTo>
                  <a:pt x="151159" y="32727"/>
                </a:lnTo>
                <a:lnTo>
                  <a:pt x="151261" y="33034"/>
                </a:lnTo>
                <a:lnTo>
                  <a:pt x="150545" y="33443"/>
                </a:lnTo>
                <a:lnTo>
                  <a:pt x="151466" y="33852"/>
                </a:lnTo>
                <a:lnTo>
                  <a:pt x="151466" y="34364"/>
                </a:lnTo>
                <a:lnTo>
                  <a:pt x="152080" y="34364"/>
                </a:lnTo>
                <a:lnTo>
                  <a:pt x="153102" y="33750"/>
                </a:lnTo>
                <a:lnTo>
                  <a:pt x="153614" y="33852"/>
                </a:lnTo>
                <a:lnTo>
                  <a:pt x="153818" y="33443"/>
                </a:lnTo>
                <a:lnTo>
                  <a:pt x="152795" y="33443"/>
                </a:lnTo>
                <a:lnTo>
                  <a:pt x="152386" y="32830"/>
                </a:lnTo>
                <a:lnTo>
                  <a:pt x="152591" y="32420"/>
                </a:lnTo>
                <a:lnTo>
                  <a:pt x="152489" y="32727"/>
                </a:lnTo>
                <a:lnTo>
                  <a:pt x="152489" y="32727"/>
                </a:lnTo>
                <a:lnTo>
                  <a:pt x="155250" y="31602"/>
                </a:lnTo>
                <a:close/>
                <a:moveTo>
                  <a:pt x="144000" y="38864"/>
                </a:moveTo>
                <a:lnTo>
                  <a:pt x="144000" y="38864"/>
                </a:lnTo>
                <a:lnTo>
                  <a:pt x="144000" y="38864"/>
                </a:lnTo>
                <a:close/>
                <a:moveTo>
                  <a:pt x="144000" y="38864"/>
                </a:moveTo>
                <a:lnTo>
                  <a:pt x="144000" y="38864"/>
                </a:lnTo>
                <a:lnTo>
                  <a:pt x="144000" y="38864"/>
                </a:lnTo>
                <a:close/>
                <a:moveTo>
                  <a:pt x="131011" y="37943"/>
                </a:moveTo>
                <a:lnTo>
                  <a:pt x="131011" y="38250"/>
                </a:lnTo>
                <a:lnTo>
                  <a:pt x="131216" y="39580"/>
                </a:lnTo>
                <a:lnTo>
                  <a:pt x="132136" y="39682"/>
                </a:lnTo>
                <a:lnTo>
                  <a:pt x="132136" y="37943"/>
                </a:lnTo>
                <a:close/>
                <a:moveTo>
                  <a:pt x="165580" y="31807"/>
                </a:moveTo>
                <a:lnTo>
                  <a:pt x="166091" y="32011"/>
                </a:lnTo>
                <a:lnTo>
                  <a:pt x="166295" y="31909"/>
                </a:lnTo>
                <a:lnTo>
                  <a:pt x="166705" y="31909"/>
                </a:lnTo>
                <a:lnTo>
                  <a:pt x="167420" y="33545"/>
                </a:lnTo>
                <a:lnTo>
                  <a:pt x="165886" y="33545"/>
                </a:lnTo>
                <a:lnTo>
                  <a:pt x="166193" y="34364"/>
                </a:lnTo>
                <a:lnTo>
                  <a:pt x="165273" y="34568"/>
                </a:lnTo>
                <a:lnTo>
                  <a:pt x="165682" y="34670"/>
                </a:lnTo>
                <a:lnTo>
                  <a:pt x="166398" y="35693"/>
                </a:lnTo>
                <a:lnTo>
                  <a:pt x="166705" y="35795"/>
                </a:lnTo>
                <a:lnTo>
                  <a:pt x="166909" y="36000"/>
                </a:lnTo>
                <a:lnTo>
                  <a:pt x="167420" y="36102"/>
                </a:lnTo>
                <a:lnTo>
                  <a:pt x="168136" y="37739"/>
                </a:lnTo>
                <a:lnTo>
                  <a:pt x="168136" y="36818"/>
                </a:lnTo>
                <a:lnTo>
                  <a:pt x="169670" y="37841"/>
                </a:lnTo>
                <a:lnTo>
                  <a:pt x="169466" y="38250"/>
                </a:lnTo>
                <a:lnTo>
                  <a:pt x="168239" y="37841"/>
                </a:lnTo>
                <a:lnTo>
                  <a:pt x="168648" y="39068"/>
                </a:lnTo>
                <a:lnTo>
                  <a:pt x="168955" y="38864"/>
                </a:lnTo>
                <a:lnTo>
                  <a:pt x="169159" y="39273"/>
                </a:lnTo>
                <a:lnTo>
                  <a:pt x="168852" y="39273"/>
                </a:lnTo>
                <a:lnTo>
                  <a:pt x="168852" y="39580"/>
                </a:lnTo>
                <a:lnTo>
                  <a:pt x="169261" y="39682"/>
                </a:lnTo>
                <a:lnTo>
                  <a:pt x="169773" y="42034"/>
                </a:lnTo>
                <a:lnTo>
                  <a:pt x="169977" y="42034"/>
                </a:lnTo>
                <a:lnTo>
                  <a:pt x="169773" y="42136"/>
                </a:lnTo>
                <a:lnTo>
                  <a:pt x="169773" y="42034"/>
                </a:lnTo>
                <a:lnTo>
                  <a:pt x="167420" y="42136"/>
                </a:lnTo>
                <a:lnTo>
                  <a:pt x="165580" y="41114"/>
                </a:lnTo>
                <a:lnTo>
                  <a:pt x="165375" y="39682"/>
                </a:lnTo>
                <a:lnTo>
                  <a:pt x="165375" y="39682"/>
                </a:lnTo>
                <a:lnTo>
                  <a:pt x="165477" y="39886"/>
                </a:lnTo>
                <a:lnTo>
                  <a:pt x="166295" y="38659"/>
                </a:lnTo>
                <a:lnTo>
                  <a:pt x="163227" y="35693"/>
                </a:lnTo>
                <a:lnTo>
                  <a:pt x="163227" y="35080"/>
                </a:lnTo>
                <a:lnTo>
                  <a:pt x="163125" y="35386"/>
                </a:lnTo>
                <a:lnTo>
                  <a:pt x="162307" y="34261"/>
                </a:lnTo>
                <a:lnTo>
                  <a:pt x="162409" y="34057"/>
                </a:lnTo>
                <a:lnTo>
                  <a:pt x="162511" y="34057"/>
                </a:lnTo>
                <a:lnTo>
                  <a:pt x="162614" y="33136"/>
                </a:lnTo>
                <a:lnTo>
                  <a:pt x="162818" y="33239"/>
                </a:lnTo>
                <a:lnTo>
                  <a:pt x="163636" y="32932"/>
                </a:lnTo>
                <a:lnTo>
                  <a:pt x="163534" y="32727"/>
                </a:lnTo>
                <a:lnTo>
                  <a:pt x="163943" y="32523"/>
                </a:lnTo>
                <a:lnTo>
                  <a:pt x="164045" y="32420"/>
                </a:lnTo>
                <a:lnTo>
                  <a:pt x="163943" y="32318"/>
                </a:lnTo>
                <a:lnTo>
                  <a:pt x="165580" y="31807"/>
                </a:lnTo>
                <a:close/>
                <a:moveTo>
                  <a:pt x="137352" y="40602"/>
                </a:moveTo>
                <a:lnTo>
                  <a:pt x="135511" y="40807"/>
                </a:lnTo>
                <a:lnTo>
                  <a:pt x="134898" y="40705"/>
                </a:lnTo>
                <a:lnTo>
                  <a:pt x="137045" y="42239"/>
                </a:lnTo>
                <a:lnTo>
                  <a:pt x="137148" y="41932"/>
                </a:lnTo>
                <a:lnTo>
                  <a:pt x="137045" y="41625"/>
                </a:lnTo>
                <a:lnTo>
                  <a:pt x="137352" y="40602"/>
                </a:lnTo>
                <a:close/>
                <a:moveTo>
                  <a:pt x="146659" y="43670"/>
                </a:moveTo>
                <a:lnTo>
                  <a:pt x="146148" y="43875"/>
                </a:lnTo>
                <a:lnTo>
                  <a:pt x="146250" y="43875"/>
                </a:lnTo>
                <a:lnTo>
                  <a:pt x="146659" y="43670"/>
                </a:lnTo>
                <a:close/>
                <a:moveTo>
                  <a:pt x="144409" y="43364"/>
                </a:moveTo>
                <a:lnTo>
                  <a:pt x="144307" y="43466"/>
                </a:lnTo>
                <a:lnTo>
                  <a:pt x="144307" y="43773"/>
                </a:lnTo>
                <a:lnTo>
                  <a:pt x="145330" y="44080"/>
                </a:lnTo>
                <a:lnTo>
                  <a:pt x="146148" y="43875"/>
                </a:lnTo>
                <a:lnTo>
                  <a:pt x="146045" y="43670"/>
                </a:lnTo>
                <a:lnTo>
                  <a:pt x="144716" y="43568"/>
                </a:lnTo>
                <a:lnTo>
                  <a:pt x="144818" y="43466"/>
                </a:lnTo>
                <a:lnTo>
                  <a:pt x="144409" y="43364"/>
                </a:lnTo>
                <a:close/>
                <a:moveTo>
                  <a:pt x="153614" y="43364"/>
                </a:moveTo>
                <a:lnTo>
                  <a:pt x="151773" y="43977"/>
                </a:lnTo>
                <a:lnTo>
                  <a:pt x="152489" y="44489"/>
                </a:lnTo>
                <a:lnTo>
                  <a:pt x="153307" y="44080"/>
                </a:lnTo>
                <a:lnTo>
                  <a:pt x="153614" y="43466"/>
                </a:lnTo>
                <a:lnTo>
                  <a:pt x="153614" y="43364"/>
                </a:lnTo>
                <a:close/>
                <a:moveTo>
                  <a:pt x="241568" y="37534"/>
                </a:moveTo>
                <a:lnTo>
                  <a:pt x="241261" y="37636"/>
                </a:lnTo>
                <a:lnTo>
                  <a:pt x="241670" y="37739"/>
                </a:lnTo>
                <a:lnTo>
                  <a:pt x="241466" y="38045"/>
                </a:lnTo>
                <a:lnTo>
                  <a:pt x="240955" y="37636"/>
                </a:lnTo>
                <a:lnTo>
                  <a:pt x="241057" y="37943"/>
                </a:lnTo>
                <a:lnTo>
                  <a:pt x="240955" y="38148"/>
                </a:lnTo>
                <a:lnTo>
                  <a:pt x="241261" y="38864"/>
                </a:lnTo>
                <a:lnTo>
                  <a:pt x="241159" y="38864"/>
                </a:lnTo>
                <a:lnTo>
                  <a:pt x="241875" y="40807"/>
                </a:lnTo>
                <a:lnTo>
                  <a:pt x="241670" y="41114"/>
                </a:lnTo>
                <a:lnTo>
                  <a:pt x="241466" y="41727"/>
                </a:lnTo>
                <a:lnTo>
                  <a:pt x="240955" y="42136"/>
                </a:lnTo>
                <a:lnTo>
                  <a:pt x="240443" y="41932"/>
                </a:lnTo>
                <a:lnTo>
                  <a:pt x="240545" y="41420"/>
                </a:lnTo>
                <a:lnTo>
                  <a:pt x="240545" y="41420"/>
                </a:lnTo>
                <a:lnTo>
                  <a:pt x="240136" y="41727"/>
                </a:lnTo>
                <a:lnTo>
                  <a:pt x="240341" y="43261"/>
                </a:lnTo>
                <a:lnTo>
                  <a:pt x="239727" y="43466"/>
                </a:lnTo>
                <a:lnTo>
                  <a:pt x="239420" y="43364"/>
                </a:lnTo>
                <a:lnTo>
                  <a:pt x="237477" y="43977"/>
                </a:lnTo>
                <a:lnTo>
                  <a:pt x="236761" y="45102"/>
                </a:lnTo>
                <a:lnTo>
                  <a:pt x="237886" y="45205"/>
                </a:lnTo>
                <a:lnTo>
                  <a:pt x="237784" y="44795"/>
                </a:lnTo>
                <a:lnTo>
                  <a:pt x="240341" y="44489"/>
                </a:lnTo>
                <a:lnTo>
                  <a:pt x="240239" y="44795"/>
                </a:lnTo>
                <a:lnTo>
                  <a:pt x="240955" y="45614"/>
                </a:lnTo>
                <a:lnTo>
                  <a:pt x="241670" y="44795"/>
                </a:lnTo>
                <a:lnTo>
                  <a:pt x="241261" y="44080"/>
                </a:lnTo>
                <a:lnTo>
                  <a:pt x="241568" y="44386"/>
                </a:lnTo>
                <a:lnTo>
                  <a:pt x="241568" y="44182"/>
                </a:lnTo>
                <a:lnTo>
                  <a:pt x="241670" y="44489"/>
                </a:lnTo>
                <a:lnTo>
                  <a:pt x="242693" y="44489"/>
                </a:lnTo>
                <a:lnTo>
                  <a:pt x="243102" y="43977"/>
                </a:lnTo>
                <a:lnTo>
                  <a:pt x="243307" y="43977"/>
                </a:lnTo>
                <a:lnTo>
                  <a:pt x="243409" y="43773"/>
                </a:lnTo>
                <a:lnTo>
                  <a:pt x="243614" y="43773"/>
                </a:lnTo>
                <a:lnTo>
                  <a:pt x="243511" y="43364"/>
                </a:lnTo>
                <a:lnTo>
                  <a:pt x="243818" y="43466"/>
                </a:lnTo>
                <a:lnTo>
                  <a:pt x="243818" y="43773"/>
                </a:lnTo>
                <a:lnTo>
                  <a:pt x="244023" y="44182"/>
                </a:lnTo>
                <a:lnTo>
                  <a:pt x="244432" y="43261"/>
                </a:lnTo>
                <a:lnTo>
                  <a:pt x="244023" y="42852"/>
                </a:lnTo>
                <a:lnTo>
                  <a:pt x="243205" y="40602"/>
                </a:lnTo>
                <a:lnTo>
                  <a:pt x="243511" y="40500"/>
                </a:lnTo>
                <a:lnTo>
                  <a:pt x="243409" y="39886"/>
                </a:lnTo>
                <a:lnTo>
                  <a:pt x="243409" y="39784"/>
                </a:lnTo>
                <a:lnTo>
                  <a:pt x="241568" y="37534"/>
                </a:lnTo>
                <a:close/>
                <a:moveTo>
                  <a:pt x="238909" y="44795"/>
                </a:moveTo>
                <a:lnTo>
                  <a:pt x="238807" y="45102"/>
                </a:lnTo>
                <a:lnTo>
                  <a:pt x="238398" y="45000"/>
                </a:lnTo>
                <a:lnTo>
                  <a:pt x="238295" y="45307"/>
                </a:lnTo>
                <a:lnTo>
                  <a:pt x="237989" y="45716"/>
                </a:lnTo>
                <a:lnTo>
                  <a:pt x="238398" y="45920"/>
                </a:lnTo>
                <a:lnTo>
                  <a:pt x="238705" y="46330"/>
                </a:lnTo>
                <a:lnTo>
                  <a:pt x="239523" y="45614"/>
                </a:lnTo>
                <a:lnTo>
                  <a:pt x="239830" y="45818"/>
                </a:lnTo>
                <a:lnTo>
                  <a:pt x="240034" y="45307"/>
                </a:lnTo>
                <a:lnTo>
                  <a:pt x="239625" y="44795"/>
                </a:lnTo>
                <a:close/>
                <a:moveTo>
                  <a:pt x="151875" y="47659"/>
                </a:moveTo>
                <a:lnTo>
                  <a:pt x="151773" y="47761"/>
                </a:lnTo>
                <a:lnTo>
                  <a:pt x="152080" y="47864"/>
                </a:lnTo>
                <a:lnTo>
                  <a:pt x="151875" y="47659"/>
                </a:lnTo>
                <a:close/>
                <a:moveTo>
                  <a:pt x="236455" y="45307"/>
                </a:moveTo>
                <a:lnTo>
                  <a:pt x="236045" y="45614"/>
                </a:lnTo>
                <a:lnTo>
                  <a:pt x="236045" y="45818"/>
                </a:lnTo>
                <a:lnTo>
                  <a:pt x="235943" y="45716"/>
                </a:lnTo>
                <a:lnTo>
                  <a:pt x="236352" y="46227"/>
                </a:lnTo>
                <a:lnTo>
                  <a:pt x="236045" y="46023"/>
                </a:lnTo>
                <a:lnTo>
                  <a:pt x="236352" y="46534"/>
                </a:lnTo>
                <a:lnTo>
                  <a:pt x="236659" y="46227"/>
                </a:lnTo>
                <a:lnTo>
                  <a:pt x="236455" y="46023"/>
                </a:lnTo>
                <a:lnTo>
                  <a:pt x="236659" y="46125"/>
                </a:lnTo>
                <a:lnTo>
                  <a:pt x="236966" y="46534"/>
                </a:lnTo>
                <a:lnTo>
                  <a:pt x="237068" y="47761"/>
                </a:lnTo>
                <a:lnTo>
                  <a:pt x="237580" y="47966"/>
                </a:lnTo>
                <a:lnTo>
                  <a:pt x="237580" y="47455"/>
                </a:lnTo>
                <a:lnTo>
                  <a:pt x="237784" y="48170"/>
                </a:lnTo>
                <a:lnTo>
                  <a:pt x="237886" y="47966"/>
                </a:lnTo>
                <a:lnTo>
                  <a:pt x="237886" y="47761"/>
                </a:lnTo>
                <a:lnTo>
                  <a:pt x="238193" y="47761"/>
                </a:lnTo>
                <a:lnTo>
                  <a:pt x="237886" y="45818"/>
                </a:lnTo>
                <a:lnTo>
                  <a:pt x="237580" y="45818"/>
                </a:lnTo>
                <a:lnTo>
                  <a:pt x="237477" y="45409"/>
                </a:lnTo>
                <a:lnTo>
                  <a:pt x="237273" y="45511"/>
                </a:lnTo>
                <a:lnTo>
                  <a:pt x="236864" y="45307"/>
                </a:lnTo>
                <a:close/>
                <a:moveTo>
                  <a:pt x="49602" y="49398"/>
                </a:moveTo>
                <a:lnTo>
                  <a:pt x="49705" y="49500"/>
                </a:lnTo>
                <a:lnTo>
                  <a:pt x="49655" y="49401"/>
                </a:lnTo>
                <a:lnTo>
                  <a:pt x="49655" y="49401"/>
                </a:lnTo>
                <a:lnTo>
                  <a:pt x="49602" y="49398"/>
                </a:lnTo>
                <a:close/>
                <a:moveTo>
                  <a:pt x="53489" y="53386"/>
                </a:moveTo>
                <a:lnTo>
                  <a:pt x="53485" y="53390"/>
                </a:lnTo>
                <a:lnTo>
                  <a:pt x="53485" y="53390"/>
                </a:lnTo>
                <a:lnTo>
                  <a:pt x="53489" y="53489"/>
                </a:lnTo>
                <a:lnTo>
                  <a:pt x="53489" y="53386"/>
                </a:lnTo>
                <a:close/>
                <a:moveTo>
                  <a:pt x="231648" y="54102"/>
                </a:moveTo>
                <a:lnTo>
                  <a:pt x="231239" y="54205"/>
                </a:lnTo>
                <a:lnTo>
                  <a:pt x="230625" y="55739"/>
                </a:lnTo>
                <a:lnTo>
                  <a:pt x="231648" y="57477"/>
                </a:lnTo>
                <a:lnTo>
                  <a:pt x="231852" y="54511"/>
                </a:lnTo>
                <a:lnTo>
                  <a:pt x="231648" y="54102"/>
                </a:lnTo>
                <a:close/>
                <a:moveTo>
                  <a:pt x="46432" y="57886"/>
                </a:moveTo>
                <a:lnTo>
                  <a:pt x="46432" y="57989"/>
                </a:lnTo>
                <a:lnTo>
                  <a:pt x="46636" y="57886"/>
                </a:lnTo>
                <a:close/>
                <a:moveTo>
                  <a:pt x="176216" y="59114"/>
                </a:moveTo>
                <a:lnTo>
                  <a:pt x="176216" y="59114"/>
                </a:lnTo>
                <a:lnTo>
                  <a:pt x="176216" y="59114"/>
                </a:lnTo>
                <a:close/>
                <a:moveTo>
                  <a:pt x="52057" y="56250"/>
                </a:moveTo>
                <a:lnTo>
                  <a:pt x="49193" y="57170"/>
                </a:lnTo>
                <a:lnTo>
                  <a:pt x="49091" y="57375"/>
                </a:lnTo>
                <a:lnTo>
                  <a:pt x="48682" y="57580"/>
                </a:lnTo>
                <a:lnTo>
                  <a:pt x="48989" y="57477"/>
                </a:lnTo>
                <a:lnTo>
                  <a:pt x="48989" y="57682"/>
                </a:lnTo>
                <a:lnTo>
                  <a:pt x="51443" y="56761"/>
                </a:lnTo>
                <a:lnTo>
                  <a:pt x="51443" y="56761"/>
                </a:lnTo>
                <a:lnTo>
                  <a:pt x="51239" y="56966"/>
                </a:lnTo>
                <a:lnTo>
                  <a:pt x="54205" y="57886"/>
                </a:lnTo>
                <a:lnTo>
                  <a:pt x="54307" y="58500"/>
                </a:lnTo>
                <a:lnTo>
                  <a:pt x="55330" y="58807"/>
                </a:lnTo>
                <a:lnTo>
                  <a:pt x="54818" y="59625"/>
                </a:lnTo>
                <a:lnTo>
                  <a:pt x="54818" y="59625"/>
                </a:lnTo>
                <a:lnTo>
                  <a:pt x="57068" y="59420"/>
                </a:lnTo>
                <a:lnTo>
                  <a:pt x="57170" y="59523"/>
                </a:lnTo>
                <a:lnTo>
                  <a:pt x="57886" y="59420"/>
                </a:lnTo>
                <a:lnTo>
                  <a:pt x="57886" y="59114"/>
                </a:lnTo>
                <a:lnTo>
                  <a:pt x="55739" y="58091"/>
                </a:lnTo>
                <a:lnTo>
                  <a:pt x="55534" y="57886"/>
                </a:lnTo>
                <a:lnTo>
                  <a:pt x="55330" y="57784"/>
                </a:lnTo>
                <a:lnTo>
                  <a:pt x="55534" y="57784"/>
                </a:lnTo>
                <a:lnTo>
                  <a:pt x="55125" y="57580"/>
                </a:lnTo>
                <a:lnTo>
                  <a:pt x="55227" y="57682"/>
                </a:lnTo>
                <a:lnTo>
                  <a:pt x="52057" y="56250"/>
                </a:lnTo>
                <a:close/>
                <a:moveTo>
                  <a:pt x="207307" y="59625"/>
                </a:moveTo>
                <a:lnTo>
                  <a:pt x="207307" y="59625"/>
                </a:lnTo>
                <a:lnTo>
                  <a:pt x="207307" y="59625"/>
                </a:lnTo>
                <a:close/>
                <a:moveTo>
                  <a:pt x="222648" y="59420"/>
                </a:moveTo>
                <a:lnTo>
                  <a:pt x="222648" y="59523"/>
                </a:lnTo>
                <a:lnTo>
                  <a:pt x="221625" y="59727"/>
                </a:lnTo>
                <a:lnTo>
                  <a:pt x="221727" y="59727"/>
                </a:lnTo>
                <a:lnTo>
                  <a:pt x="221216" y="60341"/>
                </a:lnTo>
                <a:lnTo>
                  <a:pt x="221727" y="61159"/>
                </a:lnTo>
                <a:lnTo>
                  <a:pt x="222750" y="60852"/>
                </a:lnTo>
                <a:lnTo>
                  <a:pt x="223159" y="59932"/>
                </a:lnTo>
                <a:lnTo>
                  <a:pt x="222648" y="59420"/>
                </a:lnTo>
                <a:close/>
                <a:moveTo>
                  <a:pt x="54511" y="60955"/>
                </a:moveTo>
                <a:lnTo>
                  <a:pt x="54205" y="61057"/>
                </a:lnTo>
                <a:lnTo>
                  <a:pt x="54614" y="61670"/>
                </a:lnTo>
                <a:lnTo>
                  <a:pt x="55023" y="61773"/>
                </a:lnTo>
                <a:lnTo>
                  <a:pt x="55534" y="61568"/>
                </a:lnTo>
                <a:lnTo>
                  <a:pt x="55943" y="61568"/>
                </a:lnTo>
                <a:lnTo>
                  <a:pt x="54511" y="60955"/>
                </a:lnTo>
                <a:close/>
                <a:moveTo>
                  <a:pt x="58602" y="59727"/>
                </a:moveTo>
                <a:lnTo>
                  <a:pt x="59114" y="60034"/>
                </a:lnTo>
                <a:lnTo>
                  <a:pt x="59114" y="60443"/>
                </a:lnTo>
                <a:lnTo>
                  <a:pt x="59420" y="60955"/>
                </a:lnTo>
                <a:lnTo>
                  <a:pt x="59114" y="61057"/>
                </a:lnTo>
                <a:lnTo>
                  <a:pt x="57784" y="60852"/>
                </a:lnTo>
                <a:lnTo>
                  <a:pt x="57580" y="61159"/>
                </a:lnTo>
                <a:lnTo>
                  <a:pt x="57989" y="61466"/>
                </a:lnTo>
                <a:lnTo>
                  <a:pt x="59420" y="61261"/>
                </a:lnTo>
                <a:lnTo>
                  <a:pt x="59932" y="61568"/>
                </a:lnTo>
                <a:lnTo>
                  <a:pt x="60239" y="61875"/>
                </a:lnTo>
                <a:lnTo>
                  <a:pt x="60545" y="61261"/>
                </a:lnTo>
                <a:lnTo>
                  <a:pt x="62693" y="61261"/>
                </a:lnTo>
                <a:lnTo>
                  <a:pt x="63000" y="60750"/>
                </a:lnTo>
                <a:lnTo>
                  <a:pt x="61977" y="60341"/>
                </a:lnTo>
                <a:lnTo>
                  <a:pt x="62284" y="60239"/>
                </a:lnTo>
                <a:lnTo>
                  <a:pt x="58602" y="59727"/>
                </a:lnTo>
                <a:close/>
                <a:moveTo>
                  <a:pt x="208739" y="63614"/>
                </a:moveTo>
                <a:lnTo>
                  <a:pt x="208739" y="63614"/>
                </a:lnTo>
                <a:lnTo>
                  <a:pt x="208739" y="63614"/>
                </a:lnTo>
                <a:close/>
                <a:moveTo>
                  <a:pt x="48989" y="64227"/>
                </a:moveTo>
                <a:lnTo>
                  <a:pt x="48989" y="64330"/>
                </a:lnTo>
                <a:lnTo>
                  <a:pt x="49091" y="64432"/>
                </a:lnTo>
                <a:lnTo>
                  <a:pt x="49091" y="64432"/>
                </a:lnTo>
                <a:lnTo>
                  <a:pt x="48989" y="64227"/>
                </a:lnTo>
                <a:close/>
                <a:moveTo>
                  <a:pt x="44182" y="66375"/>
                </a:moveTo>
                <a:lnTo>
                  <a:pt x="44386" y="66477"/>
                </a:lnTo>
                <a:lnTo>
                  <a:pt x="44386" y="66477"/>
                </a:lnTo>
                <a:lnTo>
                  <a:pt x="44284" y="66375"/>
                </a:lnTo>
                <a:close/>
                <a:moveTo>
                  <a:pt x="232261" y="60955"/>
                </a:moveTo>
                <a:lnTo>
                  <a:pt x="231955" y="61670"/>
                </a:lnTo>
                <a:lnTo>
                  <a:pt x="232159" y="63511"/>
                </a:lnTo>
                <a:lnTo>
                  <a:pt x="231648" y="63307"/>
                </a:lnTo>
                <a:lnTo>
                  <a:pt x="232364" y="64943"/>
                </a:lnTo>
                <a:lnTo>
                  <a:pt x="232568" y="64739"/>
                </a:lnTo>
                <a:lnTo>
                  <a:pt x="232977" y="65148"/>
                </a:lnTo>
                <a:lnTo>
                  <a:pt x="232773" y="65864"/>
                </a:lnTo>
                <a:lnTo>
                  <a:pt x="233591" y="65966"/>
                </a:lnTo>
                <a:lnTo>
                  <a:pt x="233795" y="65659"/>
                </a:lnTo>
                <a:lnTo>
                  <a:pt x="234716" y="66375"/>
                </a:lnTo>
                <a:lnTo>
                  <a:pt x="234409" y="65761"/>
                </a:lnTo>
                <a:lnTo>
                  <a:pt x="236045" y="67091"/>
                </a:lnTo>
                <a:lnTo>
                  <a:pt x="235432" y="65966"/>
                </a:lnTo>
                <a:lnTo>
                  <a:pt x="235739" y="65864"/>
                </a:lnTo>
                <a:lnTo>
                  <a:pt x="235125" y="65659"/>
                </a:lnTo>
                <a:lnTo>
                  <a:pt x="235125" y="65864"/>
                </a:lnTo>
                <a:lnTo>
                  <a:pt x="234511" y="65352"/>
                </a:lnTo>
                <a:lnTo>
                  <a:pt x="234205" y="65455"/>
                </a:lnTo>
                <a:lnTo>
                  <a:pt x="234307" y="65659"/>
                </a:lnTo>
                <a:lnTo>
                  <a:pt x="233284" y="64330"/>
                </a:lnTo>
                <a:lnTo>
                  <a:pt x="233489" y="63511"/>
                </a:lnTo>
                <a:lnTo>
                  <a:pt x="233795" y="63205"/>
                </a:lnTo>
                <a:lnTo>
                  <a:pt x="233591" y="61159"/>
                </a:lnTo>
                <a:lnTo>
                  <a:pt x="233284" y="61261"/>
                </a:lnTo>
                <a:lnTo>
                  <a:pt x="232261" y="60955"/>
                </a:lnTo>
                <a:close/>
                <a:moveTo>
                  <a:pt x="236045" y="67091"/>
                </a:moveTo>
                <a:lnTo>
                  <a:pt x="236045" y="67091"/>
                </a:lnTo>
                <a:lnTo>
                  <a:pt x="236045" y="67091"/>
                </a:lnTo>
                <a:close/>
                <a:moveTo>
                  <a:pt x="232670" y="66170"/>
                </a:moveTo>
                <a:lnTo>
                  <a:pt x="233693" y="67398"/>
                </a:lnTo>
                <a:lnTo>
                  <a:pt x="233693" y="66580"/>
                </a:lnTo>
                <a:lnTo>
                  <a:pt x="233080" y="66170"/>
                </a:lnTo>
                <a:close/>
                <a:moveTo>
                  <a:pt x="222750" y="67705"/>
                </a:moveTo>
                <a:lnTo>
                  <a:pt x="222750" y="67705"/>
                </a:lnTo>
                <a:lnTo>
                  <a:pt x="222750" y="67705"/>
                </a:lnTo>
                <a:close/>
                <a:moveTo>
                  <a:pt x="222750" y="67705"/>
                </a:moveTo>
                <a:lnTo>
                  <a:pt x="222737" y="67743"/>
                </a:lnTo>
                <a:lnTo>
                  <a:pt x="222750" y="67807"/>
                </a:lnTo>
                <a:lnTo>
                  <a:pt x="222750" y="67705"/>
                </a:lnTo>
                <a:close/>
                <a:moveTo>
                  <a:pt x="235330" y="67091"/>
                </a:moveTo>
                <a:lnTo>
                  <a:pt x="235330" y="67807"/>
                </a:lnTo>
                <a:lnTo>
                  <a:pt x="235739" y="67602"/>
                </a:lnTo>
                <a:lnTo>
                  <a:pt x="236148" y="67909"/>
                </a:lnTo>
                <a:lnTo>
                  <a:pt x="235534" y="67193"/>
                </a:lnTo>
                <a:lnTo>
                  <a:pt x="235330" y="67091"/>
                </a:lnTo>
                <a:close/>
                <a:moveTo>
                  <a:pt x="236250" y="67091"/>
                </a:moveTo>
                <a:lnTo>
                  <a:pt x="237068" y="68420"/>
                </a:lnTo>
                <a:lnTo>
                  <a:pt x="237682" y="68625"/>
                </a:lnTo>
                <a:lnTo>
                  <a:pt x="237784" y="68625"/>
                </a:lnTo>
                <a:lnTo>
                  <a:pt x="237170" y="67295"/>
                </a:lnTo>
                <a:lnTo>
                  <a:pt x="236250" y="67091"/>
                </a:lnTo>
                <a:close/>
                <a:moveTo>
                  <a:pt x="234307" y="67807"/>
                </a:moveTo>
                <a:lnTo>
                  <a:pt x="234205" y="67909"/>
                </a:lnTo>
                <a:lnTo>
                  <a:pt x="234409" y="68011"/>
                </a:lnTo>
                <a:lnTo>
                  <a:pt x="234409" y="69341"/>
                </a:lnTo>
                <a:lnTo>
                  <a:pt x="235330" y="68420"/>
                </a:lnTo>
                <a:lnTo>
                  <a:pt x="234307" y="67807"/>
                </a:lnTo>
                <a:close/>
                <a:moveTo>
                  <a:pt x="236455" y="68216"/>
                </a:moveTo>
                <a:lnTo>
                  <a:pt x="236557" y="68625"/>
                </a:lnTo>
                <a:lnTo>
                  <a:pt x="236864" y="68932"/>
                </a:lnTo>
                <a:lnTo>
                  <a:pt x="237170" y="69750"/>
                </a:lnTo>
                <a:lnTo>
                  <a:pt x="237170" y="69341"/>
                </a:lnTo>
                <a:lnTo>
                  <a:pt x="237273" y="69545"/>
                </a:lnTo>
                <a:lnTo>
                  <a:pt x="237273" y="69443"/>
                </a:lnTo>
                <a:lnTo>
                  <a:pt x="237273" y="69136"/>
                </a:lnTo>
                <a:lnTo>
                  <a:pt x="237170" y="68932"/>
                </a:lnTo>
                <a:lnTo>
                  <a:pt x="236966" y="68318"/>
                </a:lnTo>
                <a:lnTo>
                  <a:pt x="236761" y="68420"/>
                </a:lnTo>
                <a:lnTo>
                  <a:pt x="236455" y="68216"/>
                </a:lnTo>
                <a:close/>
                <a:moveTo>
                  <a:pt x="193091" y="69852"/>
                </a:moveTo>
                <a:lnTo>
                  <a:pt x="193295" y="70261"/>
                </a:lnTo>
                <a:lnTo>
                  <a:pt x="193160" y="69965"/>
                </a:lnTo>
                <a:lnTo>
                  <a:pt x="193091" y="69852"/>
                </a:lnTo>
                <a:close/>
                <a:moveTo>
                  <a:pt x="235636" y="68830"/>
                </a:moveTo>
                <a:lnTo>
                  <a:pt x="235227" y="69034"/>
                </a:lnTo>
                <a:lnTo>
                  <a:pt x="235125" y="69239"/>
                </a:lnTo>
                <a:lnTo>
                  <a:pt x="235227" y="69648"/>
                </a:lnTo>
                <a:lnTo>
                  <a:pt x="234818" y="69955"/>
                </a:lnTo>
                <a:lnTo>
                  <a:pt x="235636" y="70670"/>
                </a:lnTo>
                <a:lnTo>
                  <a:pt x="235636" y="68830"/>
                </a:lnTo>
                <a:close/>
                <a:moveTo>
                  <a:pt x="232057" y="68420"/>
                </a:moveTo>
                <a:lnTo>
                  <a:pt x="230318" y="71284"/>
                </a:lnTo>
                <a:lnTo>
                  <a:pt x="230318" y="71386"/>
                </a:lnTo>
                <a:lnTo>
                  <a:pt x="232261" y="69341"/>
                </a:lnTo>
                <a:lnTo>
                  <a:pt x="232057" y="68420"/>
                </a:lnTo>
                <a:close/>
                <a:moveTo>
                  <a:pt x="196568" y="70159"/>
                </a:moveTo>
                <a:lnTo>
                  <a:pt x="196364" y="71795"/>
                </a:lnTo>
                <a:lnTo>
                  <a:pt x="196364" y="72000"/>
                </a:lnTo>
                <a:lnTo>
                  <a:pt x="197591" y="73739"/>
                </a:lnTo>
                <a:lnTo>
                  <a:pt x="198102" y="72102"/>
                </a:lnTo>
                <a:lnTo>
                  <a:pt x="196875" y="70261"/>
                </a:lnTo>
                <a:lnTo>
                  <a:pt x="196568" y="70159"/>
                </a:lnTo>
                <a:close/>
                <a:moveTo>
                  <a:pt x="237580" y="70261"/>
                </a:moveTo>
                <a:lnTo>
                  <a:pt x="237580" y="70773"/>
                </a:lnTo>
                <a:lnTo>
                  <a:pt x="237068" y="70977"/>
                </a:lnTo>
                <a:lnTo>
                  <a:pt x="237068" y="71182"/>
                </a:lnTo>
                <a:lnTo>
                  <a:pt x="236761" y="71182"/>
                </a:lnTo>
                <a:lnTo>
                  <a:pt x="236659" y="71591"/>
                </a:lnTo>
                <a:lnTo>
                  <a:pt x="236250" y="71795"/>
                </a:lnTo>
                <a:lnTo>
                  <a:pt x="236148" y="71182"/>
                </a:lnTo>
                <a:lnTo>
                  <a:pt x="235739" y="71284"/>
                </a:lnTo>
                <a:lnTo>
                  <a:pt x="235432" y="71693"/>
                </a:lnTo>
                <a:lnTo>
                  <a:pt x="234818" y="71898"/>
                </a:lnTo>
                <a:lnTo>
                  <a:pt x="234818" y="72818"/>
                </a:lnTo>
                <a:lnTo>
                  <a:pt x="235227" y="72000"/>
                </a:lnTo>
                <a:lnTo>
                  <a:pt x="235636" y="72102"/>
                </a:lnTo>
                <a:lnTo>
                  <a:pt x="235943" y="72409"/>
                </a:lnTo>
                <a:lnTo>
                  <a:pt x="236045" y="72000"/>
                </a:lnTo>
                <a:lnTo>
                  <a:pt x="236455" y="72205"/>
                </a:lnTo>
                <a:lnTo>
                  <a:pt x="236557" y="73125"/>
                </a:lnTo>
                <a:lnTo>
                  <a:pt x="237580" y="73943"/>
                </a:lnTo>
                <a:lnTo>
                  <a:pt x="237682" y="73841"/>
                </a:lnTo>
                <a:lnTo>
                  <a:pt x="237682" y="74045"/>
                </a:lnTo>
                <a:lnTo>
                  <a:pt x="238091" y="73841"/>
                </a:lnTo>
                <a:lnTo>
                  <a:pt x="237784" y="73227"/>
                </a:lnTo>
                <a:lnTo>
                  <a:pt x="237989" y="72614"/>
                </a:lnTo>
                <a:lnTo>
                  <a:pt x="238295" y="72818"/>
                </a:lnTo>
                <a:lnTo>
                  <a:pt x="238500" y="73534"/>
                </a:lnTo>
                <a:lnTo>
                  <a:pt x="238500" y="73023"/>
                </a:lnTo>
                <a:lnTo>
                  <a:pt x="238807" y="72614"/>
                </a:lnTo>
                <a:lnTo>
                  <a:pt x="238500" y="71284"/>
                </a:lnTo>
                <a:lnTo>
                  <a:pt x="238398" y="71182"/>
                </a:lnTo>
                <a:lnTo>
                  <a:pt x="238500" y="70977"/>
                </a:lnTo>
                <a:lnTo>
                  <a:pt x="238295" y="70466"/>
                </a:lnTo>
                <a:lnTo>
                  <a:pt x="237580" y="70261"/>
                </a:lnTo>
                <a:close/>
                <a:moveTo>
                  <a:pt x="240443" y="77727"/>
                </a:moveTo>
                <a:lnTo>
                  <a:pt x="240034" y="78545"/>
                </a:lnTo>
                <a:lnTo>
                  <a:pt x="240136" y="80284"/>
                </a:lnTo>
                <a:lnTo>
                  <a:pt x="240852" y="81000"/>
                </a:lnTo>
                <a:lnTo>
                  <a:pt x="240341" y="79568"/>
                </a:lnTo>
                <a:lnTo>
                  <a:pt x="241261" y="79773"/>
                </a:lnTo>
                <a:lnTo>
                  <a:pt x="240750" y="79057"/>
                </a:lnTo>
                <a:lnTo>
                  <a:pt x="241057" y="78852"/>
                </a:lnTo>
                <a:lnTo>
                  <a:pt x="241057" y="78545"/>
                </a:lnTo>
                <a:lnTo>
                  <a:pt x="240136" y="78955"/>
                </a:lnTo>
                <a:lnTo>
                  <a:pt x="240443" y="78648"/>
                </a:lnTo>
                <a:lnTo>
                  <a:pt x="240443" y="78341"/>
                </a:lnTo>
                <a:lnTo>
                  <a:pt x="240341" y="78136"/>
                </a:lnTo>
                <a:lnTo>
                  <a:pt x="240443" y="77727"/>
                </a:lnTo>
                <a:close/>
                <a:moveTo>
                  <a:pt x="79875" y="80284"/>
                </a:moveTo>
                <a:lnTo>
                  <a:pt x="78136" y="80591"/>
                </a:lnTo>
                <a:lnTo>
                  <a:pt x="78136" y="81511"/>
                </a:lnTo>
                <a:lnTo>
                  <a:pt x="78443" y="81818"/>
                </a:lnTo>
                <a:lnTo>
                  <a:pt x="79466" y="81511"/>
                </a:lnTo>
                <a:lnTo>
                  <a:pt x="80080" y="80693"/>
                </a:lnTo>
                <a:lnTo>
                  <a:pt x="79875" y="80284"/>
                </a:lnTo>
                <a:close/>
                <a:moveTo>
                  <a:pt x="261102" y="82636"/>
                </a:moveTo>
                <a:lnTo>
                  <a:pt x="261000" y="82841"/>
                </a:lnTo>
                <a:lnTo>
                  <a:pt x="261205" y="82943"/>
                </a:lnTo>
                <a:lnTo>
                  <a:pt x="261307" y="82943"/>
                </a:lnTo>
                <a:lnTo>
                  <a:pt x="261102" y="82636"/>
                </a:lnTo>
                <a:close/>
                <a:moveTo>
                  <a:pt x="220500" y="81818"/>
                </a:moveTo>
                <a:lnTo>
                  <a:pt x="219784" y="81920"/>
                </a:lnTo>
                <a:lnTo>
                  <a:pt x="219886" y="82227"/>
                </a:lnTo>
                <a:lnTo>
                  <a:pt x="220295" y="82534"/>
                </a:lnTo>
                <a:lnTo>
                  <a:pt x="220295" y="82841"/>
                </a:lnTo>
                <a:lnTo>
                  <a:pt x="221011" y="83148"/>
                </a:lnTo>
                <a:lnTo>
                  <a:pt x="221114" y="82636"/>
                </a:lnTo>
                <a:lnTo>
                  <a:pt x="220500" y="81818"/>
                </a:lnTo>
                <a:close/>
                <a:moveTo>
                  <a:pt x="222034" y="82636"/>
                </a:moveTo>
                <a:lnTo>
                  <a:pt x="221830" y="83045"/>
                </a:lnTo>
                <a:lnTo>
                  <a:pt x="221830" y="83352"/>
                </a:lnTo>
                <a:lnTo>
                  <a:pt x="222341" y="83148"/>
                </a:lnTo>
                <a:lnTo>
                  <a:pt x="222034" y="82636"/>
                </a:lnTo>
                <a:close/>
                <a:moveTo>
                  <a:pt x="240443" y="83352"/>
                </a:moveTo>
                <a:lnTo>
                  <a:pt x="240239" y="83659"/>
                </a:lnTo>
                <a:lnTo>
                  <a:pt x="240239" y="83659"/>
                </a:lnTo>
                <a:lnTo>
                  <a:pt x="240545" y="83352"/>
                </a:lnTo>
                <a:close/>
                <a:moveTo>
                  <a:pt x="240852" y="82943"/>
                </a:moveTo>
                <a:lnTo>
                  <a:pt x="240545" y="83352"/>
                </a:lnTo>
                <a:lnTo>
                  <a:pt x="240750" y="83557"/>
                </a:lnTo>
                <a:lnTo>
                  <a:pt x="241261" y="83455"/>
                </a:lnTo>
                <a:lnTo>
                  <a:pt x="241670" y="83557"/>
                </a:lnTo>
                <a:lnTo>
                  <a:pt x="241977" y="83455"/>
                </a:lnTo>
                <a:lnTo>
                  <a:pt x="242898" y="83966"/>
                </a:lnTo>
                <a:lnTo>
                  <a:pt x="241568" y="82943"/>
                </a:lnTo>
                <a:close/>
                <a:moveTo>
                  <a:pt x="230011" y="72818"/>
                </a:moveTo>
                <a:lnTo>
                  <a:pt x="228989" y="74250"/>
                </a:lnTo>
                <a:lnTo>
                  <a:pt x="228989" y="74761"/>
                </a:lnTo>
                <a:lnTo>
                  <a:pt x="228477" y="74966"/>
                </a:lnTo>
                <a:lnTo>
                  <a:pt x="228477" y="74864"/>
                </a:lnTo>
                <a:lnTo>
                  <a:pt x="227557" y="75375"/>
                </a:lnTo>
                <a:lnTo>
                  <a:pt x="227045" y="76398"/>
                </a:lnTo>
                <a:lnTo>
                  <a:pt x="225409" y="77216"/>
                </a:lnTo>
                <a:lnTo>
                  <a:pt x="225307" y="77420"/>
                </a:lnTo>
                <a:lnTo>
                  <a:pt x="225205" y="77523"/>
                </a:lnTo>
                <a:lnTo>
                  <a:pt x="225205" y="78648"/>
                </a:lnTo>
                <a:lnTo>
                  <a:pt x="223670" y="77932"/>
                </a:lnTo>
                <a:lnTo>
                  <a:pt x="223159" y="78750"/>
                </a:lnTo>
                <a:lnTo>
                  <a:pt x="223261" y="78750"/>
                </a:lnTo>
                <a:lnTo>
                  <a:pt x="224182" y="83045"/>
                </a:lnTo>
                <a:lnTo>
                  <a:pt x="225511" y="83045"/>
                </a:lnTo>
                <a:lnTo>
                  <a:pt x="225818" y="83659"/>
                </a:lnTo>
                <a:lnTo>
                  <a:pt x="226023" y="83455"/>
                </a:lnTo>
                <a:lnTo>
                  <a:pt x="226330" y="83557"/>
                </a:lnTo>
                <a:lnTo>
                  <a:pt x="226739" y="83045"/>
                </a:lnTo>
                <a:lnTo>
                  <a:pt x="227352" y="83557"/>
                </a:lnTo>
                <a:lnTo>
                  <a:pt x="227966" y="83352"/>
                </a:lnTo>
                <a:lnTo>
                  <a:pt x="228068" y="83557"/>
                </a:lnTo>
                <a:lnTo>
                  <a:pt x="228375" y="84273"/>
                </a:lnTo>
                <a:lnTo>
                  <a:pt x="229398" y="83659"/>
                </a:lnTo>
                <a:lnTo>
                  <a:pt x="229705" y="83250"/>
                </a:lnTo>
                <a:lnTo>
                  <a:pt x="229602" y="83045"/>
                </a:lnTo>
                <a:lnTo>
                  <a:pt x="229807" y="82739"/>
                </a:lnTo>
                <a:lnTo>
                  <a:pt x="229705" y="81920"/>
                </a:lnTo>
                <a:lnTo>
                  <a:pt x="230216" y="81102"/>
                </a:lnTo>
                <a:lnTo>
                  <a:pt x="230523" y="81102"/>
                </a:lnTo>
                <a:lnTo>
                  <a:pt x="231239" y="78955"/>
                </a:lnTo>
                <a:lnTo>
                  <a:pt x="231852" y="79159"/>
                </a:lnTo>
                <a:lnTo>
                  <a:pt x="232159" y="79159"/>
                </a:lnTo>
                <a:lnTo>
                  <a:pt x="232057" y="78955"/>
                </a:lnTo>
                <a:lnTo>
                  <a:pt x="231136" y="77932"/>
                </a:lnTo>
                <a:lnTo>
                  <a:pt x="231034" y="77114"/>
                </a:lnTo>
                <a:lnTo>
                  <a:pt x="230932" y="77011"/>
                </a:lnTo>
                <a:lnTo>
                  <a:pt x="230420" y="76295"/>
                </a:lnTo>
                <a:lnTo>
                  <a:pt x="230830" y="76193"/>
                </a:lnTo>
                <a:lnTo>
                  <a:pt x="230932" y="76091"/>
                </a:lnTo>
                <a:lnTo>
                  <a:pt x="230932" y="75580"/>
                </a:lnTo>
                <a:lnTo>
                  <a:pt x="231750" y="75580"/>
                </a:lnTo>
                <a:lnTo>
                  <a:pt x="231443" y="74864"/>
                </a:lnTo>
                <a:lnTo>
                  <a:pt x="232261" y="74761"/>
                </a:lnTo>
                <a:lnTo>
                  <a:pt x="231136" y="73841"/>
                </a:lnTo>
                <a:lnTo>
                  <a:pt x="230727" y="73943"/>
                </a:lnTo>
                <a:lnTo>
                  <a:pt x="230420" y="72920"/>
                </a:lnTo>
                <a:lnTo>
                  <a:pt x="230011" y="73227"/>
                </a:lnTo>
                <a:lnTo>
                  <a:pt x="230011" y="72818"/>
                </a:lnTo>
                <a:close/>
                <a:moveTo>
                  <a:pt x="261307" y="82943"/>
                </a:moveTo>
                <a:lnTo>
                  <a:pt x="262841" y="84989"/>
                </a:lnTo>
                <a:lnTo>
                  <a:pt x="262330" y="83761"/>
                </a:lnTo>
                <a:lnTo>
                  <a:pt x="261307" y="82943"/>
                </a:lnTo>
                <a:close/>
                <a:moveTo>
                  <a:pt x="237682" y="78239"/>
                </a:moveTo>
                <a:lnTo>
                  <a:pt x="237170" y="78852"/>
                </a:lnTo>
                <a:lnTo>
                  <a:pt x="234614" y="78955"/>
                </a:lnTo>
                <a:lnTo>
                  <a:pt x="234409" y="78750"/>
                </a:lnTo>
                <a:lnTo>
                  <a:pt x="233489" y="79057"/>
                </a:lnTo>
                <a:lnTo>
                  <a:pt x="232977" y="79875"/>
                </a:lnTo>
                <a:lnTo>
                  <a:pt x="232977" y="80080"/>
                </a:lnTo>
                <a:lnTo>
                  <a:pt x="232875" y="80182"/>
                </a:lnTo>
                <a:lnTo>
                  <a:pt x="232977" y="80898"/>
                </a:lnTo>
                <a:lnTo>
                  <a:pt x="232875" y="80693"/>
                </a:lnTo>
                <a:lnTo>
                  <a:pt x="232057" y="83455"/>
                </a:lnTo>
                <a:lnTo>
                  <a:pt x="232364" y="83659"/>
                </a:lnTo>
                <a:lnTo>
                  <a:pt x="232568" y="83864"/>
                </a:lnTo>
                <a:lnTo>
                  <a:pt x="232670" y="85909"/>
                </a:lnTo>
                <a:lnTo>
                  <a:pt x="233386" y="85807"/>
                </a:lnTo>
                <a:lnTo>
                  <a:pt x="233591" y="82841"/>
                </a:lnTo>
                <a:lnTo>
                  <a:pt x="234409" y="84784"/>
                </a:lnTo>
                <a:lnTo>
                  <a:pt x="235636" y="84375"/>
                </a:lnTo>
                <a:lnTo>
                  <a:pt x="235125" y="83761"/>
                </a:lnTo>
                <a:lnTo>
                  <a:pt x="235227" y="83148"/>
                </a:lnTo>
                <a:lnTo>
                  <a:pt x="234409" y="82023"/>
                </a:lnTo>
                <a:lnTo>
                  <a:pt x="234614" y="82023"/>
                </a:lnTo>
                <a:lnTo>
                  <a:pt x="235739" y="81000"/>
                </a:lnTo>
                <a:lnTo>
                  <a:pt x="236148" y="81102"/>
                </a:lnTo>
                <a:lnTo>
                  <a:pt x="235739" y="80693"/>
                </a:lnTo>
                <a:lnTo>
                  <a:pt x="235739" y="80795"/>
                </a:lnTo>
                <a:lnTo>
                  <a:pt x="233591" y="81205"/>
                </a:lnTo>
                <a:lnTo>
                  <a:pt x="233284" y="80693"/>
                </a:lnTo>
                <a:lnTo>
                  <a:pt x="233182" y="80182"/>
                </a:lnTo>
                <a:lnTo>
                  <a:pt x="235943" y="79568"/>
                </a:lnTo>
                <a:lnTo>
                  <a:pt x="236455" y="79773"/>
                </a:lnTo>
                <a:lnTo>
                  <a:pt x="236966" y="79670"/>
                </a:lnTo>
                <a:lnTo>
                  <a:pt x="237580" y="79057"/>
                </a:lnTo>
                <a:lnTo>
                  <a:pt x="237682" y="78239"/>
                </a:lnTo>
                <a:close/>
                <a:moveTo>
                  <a:pt x="210580" y="74659"/>
                </a:moveTo>
                <a:lnTo>
                  <a:pt x="219068" y="86114"/>
                </a:lnTo>
                <a:lnTo>
                  <a:pt x="219068" y="85705"/>
                </a:lnTo>
                <a:lnTo>
                  <a:pt x="219989" y="86011"/>
                </a:lnTo>
                <a:lnTo>
                  <a:pt x="220398" y="83250"/>
                </a:lnTo>
                <a:lnTo>
                  <a:pt x="219273" y="82636"/>
                </a:lnTo>
                <a:lnTo>
                  <a:pt x="218966" y="81102"/>
                </a:lnTo>
                <a:lnTo>
                  <a:pt x="218352" y="80898"/>
                </a:lnTo>
                <a:lnTo>
                  <a:pt x="218148" y="80489"/>
                </a:lnTo>
                <a:lnTo>
                  <a:pt x="218455" y="79977"/>
                </a:lnTo>
                <a:lnTo>
                  <a:pt x="218045" y="79466"/>
                </a:lnTo>
                <a:lnTo>
                  <a:pt x="217330" y="79773"/>
                </a:lnTo>
                <a:lnTo>
                  <a:pt x="217739" y="79568"/>
                </a:lnTo>
                <a:lnTo>
                  <a:pt x="216102" y="77830"/>
                </a:lnTo>
                <a:lnTo>
                  <a:pt x="215795" y="78034"/>
                </a:lnTo>
                <a:lnTo>
                  <a:pt x="212625" y="74659"/>
                </a:lnTo>
                <a:close/>
                <a:moveTo>
                  <a:pt x="246170" y="85602"/>
                </a:moveTo>
                <a:lnTo>
                  <a:pt x="245864" y="85909"/>
                </a:lnTo>
                <a:lnTo>
                  <a:pt x="245761" y="86216"/>
                </a:lnTo>
                <a:lnTo>
                  <a:pt x="246273" y="86523"/>
                </a:lnTo>
                <a:lnTo>
                  <a:pt x="246375" y="86011"/>
                </a:lnTo>
                <a:lnTo>
                  <a:pt x="246170" y="85602"/>
                </a:lnTo>
                <a:close/>
                <a:moveTo>
                  <a:pt x="261818" y="84375"/>
                </a:moveTo>
                <a:lnTo>
                  <a:pt x="261716" y="84886"/>
                </a:lnTo>
                <a:lnTo>
                  <a:pt x="260693" y="85705"/>
                </a:lnTo>
                <a:lnTo>
                  <a:pt x="260386" y="85705"/>
                </a:lnTo>
                <a:lnTo>
                  <a:pt x="260284" y="85193"/>
                </a:lnTo>
                <a:lnTo>
                  <a:pt x="260080" y="85705"/>
                </a:lnTo>
                <a:lnTo>
                  <a:pt x="258648" y="85909"/>
                </a:lnTo>
                <a:lnTo>
                  <a:pt x="259773" y="86523"/>
                </a:lnTo>
                <a:lnTo>
                  <a:pt x="262125" y="85500"/>
                </a:lnTo>
                <a:lnTo>
                  <a:pt x="262023" y="85295"/>
                </a:lnTo>
                <a:lnTo>
                  <a:pt x="262227" y="85193"/>
                </a:lnTo>
                <a:lnTo>
                  <a:pt x="262432" y="84477"/>
                </a:lnTo>
                <a:lnTo>
                  <a:pt x="261818" y="84375"/>
                </a:lnTo>
                <a:close/>
                <a:moveTo>
                  <a:pt x="249239" y="87852"/>
                </a:moveTo>
                <a:lnTo>
                  <a:pt x="248727" y="88670"/>
                </a:lnTo>
                <a:lnTo>
                  <a:pt x="249648" y="88466"/>
                </a:lnTo>
                <a:lnTo>
                  <a:pt x="249239" y="87852"/>
                </a:lnTo>
                <a:close/>
                <a:moveTo>
                  <a:pt x="220500" y="86216"/>
                </a:moveTo>
                <a:lnTo>
                  <a:pt x="219682" y="86932"/>
                </a:lnTo>
                <a:lnTo>
                  <a:pt x="219784" y="87136"/>
                </a:lnTo>
                <a:lnTo>
                  <a:pt x="227250" y="88875"/>
                </a:lnTo>
                <a:lnTo>
                  <a:pt x="227761" y="88977"/>
                </a:lnTo>
                <a:lnTo>
                  <a:pt x="227761" y="88057"/>
                </a:lnTo>
                <a:lnTo>
                  <a:pt x="226330" y="87648"/>
                </a:lnTo>
                <a:lnTo>
                  <a:pt x="226125" y="87136"/>
                </a:lnTo>
                <a:lnTo>
                  <a:pt x="224591" y="86727"/>
                </a:lnTo>
                <a:lnTo>
                  <a:pt x="224284" y="87136"/>
                </a:lnTo>
                <a:lnTo>
                  <a:pt x="222648" y="87034"/>
                </a:lnTo>
                <a:lnTo>
                  <a:pt x="222239" y="86523"/>
                </a:lnTo>
                <a:lnTo>
                  <a:pt x="220500" y="86216"/>
                </a:lnTo>
                <a:close/>
                <a:moveTo>
                  <a:pt x="227761" y="88364"/>
                </a:moveTo>
                <a:lnTo>
                  <a:pt x="228273" y="89080"/>
                </a:lnTo>
                <a:lnTo>
                  <a:pt x="228886" y="88670"/>
                </a:lnTo>
                <a:lnTo>
                  <a:pt x="228375" y="88364"/>
                </a:lnTo>
                <a:close/>
                <a:moveTo>
                  <a:pt x="229398" y="88568"/>
                </a:moveTo>
                <a:lnTo>
                  <a:pt x="228989" y="88977"/>
                </a:lnTo>
                <a:lnTo>
                  <a:pt x="229705" y="89182"/>
                </a:lnTo>
                <a:lnTo>
                  <a:pt x="229807" y="88670"/>
                </a:lnTo>
                <a:lnTo>
                  <a:pt x="229398" y="88568"/>
                </a:lnTo>
                <a:close/>
                <a:moveTo>
                  <a:pt x="235432" y="88466"/>
                </a:moveTo>
                <a:lnTo>
                  <a:pt x="234920" y="88875"/>
                </a:lnTo>
                <a:lnTo>
                  <a:pt x="233182" y="88568"/>
                </a:lnTo>
                <a:lnTo>
                  <a:pt x="232670" y="88670"/>
                </a:lnTo>
                <a:lnTo>
                  <a:pt x="232670" y="89182"/>
                </a:lnTo>
                <a:lnTo>
                  <a:pt x="234716" y="88977"/>
                </a:lnTo>
                <a:lnTo>
                  <a:pt x="235330" y="88773"/>
                </a:lnTo>
                <a:lnTo>
                  <a:pt x="235534" y="88466"/>
                </a:lnTo>
                <a:close/>
                <a:moveTo>
                  <a:pt x="230932" y="88364"/>
                </a:moveTo>
                <a:lnTo>
                  <a:pt x="230727" y="88568"/>
                </a:lnTo>
                <a:lnTo>
                  <a:pt x="231034" y="88977"/>
                </a:lnTo>
                <a:lnTo>
                  <a:pt x="231034" y="88977"/>
                </a:lnTo>
                <a:lnTo>
                  <a:pt x="230420" y="88670"/>
                </a:lnTo>
                <a:lnTo>
                  <a:pt x="230011" y="89386"/>
                </a:lnTo>
                <a:lnTo>
                  <a:pt x="231341" y="88977"/>
                </a:lnTo>
                <a:lnTo>
                  <a:pt x="231750" y="89080"/>
                </a:lnTo>
                <a:lnTo>
                  <a:pt x="231648" y="88977"/>
                </a:lnTo>
                <a:lnTo>
                  <a:pt x="231750" y="88977"/>
                </a:lnTo>
                <a:lnTo>
                  <a:pt x="231648" y="88670"/>
                </a:lnTo>
                <a:lnTo>
                  <a:pt x="231239" y="88568"/>
                </a:lnTo>
                <a:lnTo>
                  <a:pt x="230932" y="88364"/>
                </a:lnTo>
                <a:close/>
                <a:moveTo>
                  <a:pt x="232670" y="89591"/>
                </a:moveTo>
                <a:lnTo>
                  <a:pt x="231750" y="89898"/>
                </a:lnTo>
                <a:lnTo>
                  <a:pt x="232670" y="90409"/>
                </a:lnTo>
                <a:lnTo>
                  <a:pt x="233284" y="90205"/>
                </a:lnTo>
                <a:lnTo>
                  <a:pt x="232670" y="89591"/>
                </a:lnTo>
                <a:close/>
                <a:moveTo>
                  <a:pt x="239420" y="88670"/>
                </a:moveTo>
                <a:lnTo>
                  <a:pt x="237989" y="88773"/>
                </a:lnTo>
                <a:lnTo>
                  <a:pt x="235943" y="90102"/>
                </a:lnTo>
                <a:lnTo>
                  <a:pt x="235943" y="90511"/>
                </a:lnTo>
                <a:lnTo>
                  <a:pt x="237068" y="90102"/>
                </a:lnTo>
                <a:lnTo>
                  <a:pt x="239420" y="88670"/>
                </a:lnTo>
                <a:close/>
                <a:moveTo>
                  <a:pt x="244636" y="80386"/>
                </a:moveTo>
                <a:lnTo>
                  <a:pt x="243205" y="81409"/>
                </a:lnTo>
                <a:lnTo>
                  <a:pt x="243920" y="81614"/>
                </a:lnTo>
                <a:lnTo>
                  <a:pt x="244125" y="82125"/>
                </a:lnTo>
                <a:lnTo>
                  <a:pt x="244432" y="82330"/>
                </a:lnTo>
                <a:lnTo>
                  <a:pt x="245761" y="82227"/>
                </a:lnTo>
                <a:lnTo>
                  <a:pt x="245557" y="82739"/>
                </a:lnTo>
                <a:lnTo>
                  <a:pt x="244023" y="82943"/>
                </a:lnTo>
                <a:lnTo>
                  <a:pt x="244534" y="83250"/>
                </a:lnTo>
                <a:lnTo>
                  <a:pt x="244739" y="84068"/>
                </a:lnTo>
                <a:lnTo>
                  <a:pt x="245659" y="83148"/>
                </a:lnTo>
                <a:lnTo>
                  <a:pt x="245761" y="83966"/>
                </a:lnTo>
                <a:lnTo>
                  <a:pt x="246580" y="84068"/>
                </a:lnTo>
                <a:lnTo>
                  <a:pt x="246784" y="84580"/>
                </a:lnTo>
                <a:lnTo>
                  <a:pt x="249648" y="85909"/>
                </a:lnTo>
                <a:lnTo>
                  <a:pt x="249443" y="86011"/>
                </a:lnTo>
                <a:lnTo>
                  <a:pt x="249648" y="86011"/>
                </a:lnTo>
                <a:lnTo>
                  <a:pt x="250261" y="87443"/>
                </a:lnTo>
                <a:lnTo>
                  <a:pt x="249852" y="87545"/>
                </a:lnTo>
                <a:lnTo>
                  <a:pt x="250057" y="88057"/>
                </a:lnTo>
                <a:lnTo>
                  <a:pt x="249852" y="88466"/>
                </a:lnTo>
                <a:lnTo>
                  <a:pt x="251080" y="88159"/>
                </a:lnTo>
                <a:lnTo>
                  <a:pt x="251080" y="88670"/>
                </a:lnTo>
                <a:lnTo>
                  <a:pt x="251693" y="89386"/>
                </a:lnTo>
                <a:lnTo>
                  <a:pt x="253534" y="89386"/>
                </a:lnTo>
                <a:lnTo>
                  <a:pt x="253841" y="88977"/>
                </a:lnTo>
                <a:lnTo>
                  <a:pt x="252920" y="88466"/>
                </a:lnTo>
                <a:lnTo>
                  <a:pt x="254455" y="88261"/>
                </a:lnTo>
                <a:lnTo>
                  <a:pt x="254455" y="88159"/>
                </a:lnTo>
                <a:lnTo>
                  <a:pt x="254557" y="88159"/>
                </a:lnTo>
                <a:lnTo>
                  <a:pt x="254250" y="87750"/>
                </a:lnTo>
                <a:lnTo>
                  <a:pt x="254864" y="87955"/>
                </a:lnTo>
                <a:lnTo>
                  <a:pt x="255375" y="87852"/>
                </a:lnTo>
                <a:lnTo>
                  <a:pt x="257625" y="90307"/>
                </a:lnTo>
                <a:lnTo>
                  <a:pt x="260080" y="91023"/>
                </a:lnTo>
                <a:lnTo>
                  <a:pt x="260080" y="90716"/>
                </a:lnTo>
                <a:lnTo>
                  <a:pt x="260489" y="90614"/>
                </a:lnTo>
                <a:lnTo>
                  <a:pt x="259670" y="90307"/>
                </a:lnTo>
                <a:lnTo>
                  <a:pt x="259670" y="90102"/>
                </a:lnTo>
                <a:lnTo>
                  <a:pt x="259159" y="89386"/>
                </a:lnTo>
                <a:lnTo>
                  <a:pt x="258648" y="89386"/>
                </a:lnTo>
                <a:lnTo>
                  <a:pt x="257318" y="87034"/>
                </a:lnTo>
                <a:lnTo>
                  <a:pt x="258136" y="86932"/>
                </a:lnTo>
                <a:lnTo>
                  <a:pt x="256500" y="85705"/>
                </a:lnTo>
                <a:lnTo>
                  <a:pt x="256398" y="84989"/>
                </a:lnTo>
                <a:lnTo>
                  <a:pt x="251898" y="82636"/>
                </a:lnTo>
                <a:lnTo>
                  <a:pt x="249545" y="81716"/>
                </a:lnTo>
                <a:lnTo>
                  <a:pt x="248727" y="81920"/>
                </a:lnTo>
                <a:lnTo>
                  <a:pt x="248727" y="82125"/>
                </a:lnTo>
                <a:lnTo>
                  <a:pt x="246989" y="83455"/>
                </a:lnTo>
                <a:lnTo>
                  <a:pt x="246375" y="82636"/>
                </a:lnTo>
                <a:lnTo>
                  <a:pt x="246273" y="82943"/>
                </a:lnTo>
                <a:lnTo>
                  <a:pt x="245864" y="80795"/>
                </a:lnTo>
                <a:lnTo>
                  <a:pt x="244636" y="80386"/>
                </a:lnTo>
                <a:close/>
                <a:moveTo>
                  <a:pt x="242693" y="91534"/>
                </a:moveTo>
                <a:lnTo>
                  <a:pt x="241977" y="91636"/>
                </a:lnTo>
                <a:lnTo>
                  <a:pt x="241977" y="91841"/>
                </a:lnTo>
                <a:lnTo>
                  <a:pt x="242386" y="92352"/>
                </a:lnTo>
                <a:lnTo>
                  <a:pt x="242693" y="91534"/>
                </a:lnTo>
                <a:close/>
                <a:moveTo>
                  <a:pt x="285750" y="96648"/>
                </a:moveTo>
                <a:lnTo>
                  <a:pt x="285545" y="96750"/>
                </a:lnTo>
                <a:lnTo>
                  <a:pt x="284420" y="97159"/>
                </a:lnTo>
                <a:lnTo>
                  <a:pt x="284216" y="97261"/>
                </a:lnTo>
                <a:lnTo>
                  <a:pt x="285239" y="97261"/>
                </a:lnTo>
                <a:lnTo>
                  <a:pt x="285750" y="96648"/>
                </a:lnTo>
                <a:close/>
                <a:moveTo>
                  <a:pt x="285648" y="97057"/>
                </a:moveTo>
                <a:lnTo>
                  <a:pt x="285239" y="97261"/>
                </a:lnTo>
                <a:lnTo>
                  <a:pt x="285545" y="97261"/>
                </a:lnTo>
                <a:lnTo>
                  <a:pt x="285648" y="97057"/>
                </a:lnTo>
                <a:close/>
                <a:moveTo>
                  <a:pt x="284011" y="98080"/>
                </a:moveTo>
                <a:lnTo>
                  <a:pt x="282886" y="98591"/>
                </a:lnTo>
                <a:lnTo>
                  <a:pt x="283807" y="98693"/>
                </a:lnTo>
                <a:lnTo>
                  <a:pt x="284114" y="98386"/>
                </a:lnTo>
                <a:lnTo>
                  <a:pt x="284011" y="98080"/>
                </a:lnTo>
                <a:close/>
                <a:moveTo>
                  <a:pt x="168852" y="92761"/>
                </a:moveTo>
                <a:lnTo>
                  <a:pt x="168136" y="92864"/>
                </a:lnTo>
                <a:lnTo>
                  <a:pt x="168136" y="93682"/>
                </a:lnTo>
                <a:lnTo>
                  <a:pt x="167318" y="94295"/>
                </a:lnTo>
                <a:lnTo>
                  <a:pt x="167318" y="95114"/>
                </a:lnTo>
                <a:lnTo>
                  <a:pt x="166807" y="95420"/>
                </a:lnTo>
                <a:lnTo>
                  <a:pt x="166705" y="95318"/>
                </a:lnTo>
                <a:lnTo>
                  <a:pt x="165886" y="96341"/>
                </a:lnTo>
                <a:lnTo>
                  <a:pt x="165375" y="96239"/>
                </a:lnTo>
                <a:lnTo>
                  <a:pt x="164966" y="96443"/>
                </a:lnTo>
                <a:lnTo>
                  <a:pt x="164761" y="96443"/>
                </a:lnTo>
                <a:lnTo>
                  <a:pt x="164045" y="96955"/>
                </a:lnTo>
                <a:lnTo>
                  <a:pt x="163330" y="105955"/>
                </a:lnTo>
                <a:lnTo>
                  <a:pt x="163943" y="106261"/>
                </a:lnTo>
                <a:lnTo>
                  <a:pt x="165477" y="105852"/>
                </a:lnTo>
                <a:lnTo>
                  <a:pt x="168750" y="96034"/>
                </a:lnTo>
                <a:lnTo>
                  <a:pt x="169159" y="96341"/>
                </a:lnTo>
                <a:lnTo>
                  <a:pt x="169364" y="96136"/>
                </a:lnTo>
                <a:lnTo>
                  <a:pt x="168852" y="92761"/>
                </a:lnTo>
                <a:close/>
                <a:moveTo>
                  <a:pt x="79364" y="112500"/>
                </a:moveTo>
                <a:lnTo>
                  <a:pt x="79057" y="112807"/>
                </a:lnTo>
                <a:lnTo>
                  <a:pt x="79057" y="113011"/>
                </a:lnTo>
                <a:lnTo>
                  <a:pt x="79364" y="112500"/>
                </a:lnTo>
                <a:close/>
                <a:moveTo>
                  <a:pt x="185114" y="3784"/>
                </a:moveTo>
                <a:lnTo>
                  <a:pt x="184091" y="4398"/>
                </a:lnTo>
                <a:lnTo>
                  <a:pt x="184909" y="4705"/>
                </a:lnTo>
                <a:lnTo>
                  <a:pt x="183273" y="4705"/>
                </a:lnTo>
                <a:lnTo>
                  <a:pt x="183989" y="5011"/>
                </a:lnTo>
                <a:lnTo>
                  <a:pt x="184193" y="5318"/>
                </a:lnTo>
                <a:lnTo>
                  <a:pt x="184193" y="5318"/>
                </a:lnTo>
                <a:lnTo>
                  <a:pt x="183784" y="5011"/>
                </a:lnTo>
                <a:lnTo>
                  <a:pt x="180102" y="5114"/>
                </a:lnTo>
                <a:lnTo>
                  <a:pt x="180920" y="5216"/>
                </a:lnTo>
                <a:lnTo>
                  <a:pt x="177341" y="5727"/>
                </a:lnTo>
                <a:lnTo>
                  <a:pt x="177545" y="5932"/>
                </a:lnTo>
                <a:lnTo>
                  <a:pt x="177341" y="6239"/>
                </a:lnTo>
                <a:lnTo>
                  <a:pt x="176830" y="6136"/>
                </a:lnTo>
                <a:lnTo>
                  <a:pt x="177955" y="6443"/>
                </a:lnTo>
                <a:lnTo>
                  <a:pt x="177239" y="6443"/>
                </a:lnTo>
                <a:lnTo>
                  <a:pt x="178568" y="6852"/>
                </a:lnTo>
                <a:lnTo>
                  <a:pt x="178057" y="7057"/>
                </a:lnTo>
                <a:lnTo>
                  <a:pt x="178261" y="6852"/>
                </a:lnTo>
                <a:lnTo>
                  <a:pt x="178261" y="6852"/>
                </a:lnTo>
                <a:lnTo>
                  <a:pt x="174477" y="7057"/>
                </a:lnTo>
                <a:lnTo>
                  <a:pt x="174682" y="7466"/>
                </a:lnTo>
                <a:lnTo>
                  <a:pt x="174989" y="7568"/>
                </a:lnTo>
                <a:lnTo>
                  <a:pt x="175091" y="7773"/>
                </a:lnTo>
                <a:lnTo>
                  <a:pt x="177648" y="8795"/>
                </a:lnTo>
                <a:lnTo>
                  <a:pt x="177852" y="9205"/>
                </a:lnTo>
                <a:lnTo>
                  <a:pt x="178261" y="9511"/>
                </a:lnTo>
                <a:lnTo>
                  <a:pt x="178169" y="9789"/>
                </a:lnTo>
                <a:lnTo>
                  <a:pt x="177852" y="9409"/>
                </a:lnTo>
                <a:lnTo>
                  <a:pt x="177545" y="9716"/>
                </a:lnTo>
                <a:lnTo>
                  <a:pt x="177034" y="8591"/>
                </a:lnTo>
                <a:lnTo>
                  <a:pt x="173352" y="8182"/>
                </a:lnTo>
                <a:lnTo>
                  <a:pt x="173352" y="8182"/>
                </a:lnTo>
                <a:lnTo>
                  <a:pt x="173966" y="8489"/>
                </a:lnTo>
                <a:lnTo>
                  <a:pt x="172636" y="8489"/>
                </a:lnTo>
                <a:lnTo>
                  <a:pt x="175193" y="9205"/>
                </a:lnTo>
                <a:lnTo>
                  <a:pt x="175193" y="9205"/>
                </a:lnTo>
                <a:lnTo>
                  <a:pt x="172432" y="8898"/>
                </a:lnTo>
                <a:lnTo>
                  <a:pt x="172432" y="8693"/>
                </a:lnTo>
                <a:lnTo>
                  <a:pt x="172227" y="8591"/>
                </a:lnTo>
                <a:lnTo>
                  <a:pt x="172227" y="8182"/>
                </a:lnTo>
                <a:lnTo>
                  <a:pt x="171307" y="7670"/>
                </a:lnTo>
                <a:lnTo>
                  <a:pt x="171307" y="7670"/>
                </a:lnTo>
                <a:lnTo>
                  <a:pt x="171716" y="8284"/>
                </a:lnTo>
                <a:lnTo>
                  <a:pt x="171102" y="8898"/>
                </a:lnTo>
                <a:lnTo>
                  <a:pt x="172227" y="9511"/>
                </a:lnTo>
                <a:lnTo>
                  <a:pt x="172330" y="10330"/>
                </a:lnTo>
                <a:lnTo>
                  <a:pt x="174886" y="11148"/>
                </a:lnTo>
                <a:lnTo>
                  <a:pt x="173966" y="11045"/>
                </a:lnTo>
                <a:lnTo>
                  <a:pt x="174170" y="12068"/>
                </a:lnTo>
                <a:lnTo>
                  <a:pt x="173966" y="12375"/>
                </a:lnTo>
                <a:lnTo>
                  <a:pt x="173966" y="12580"/>
                </a:lnTo>
                <a:lnTo>
                  <a:pt x="173250" y="13398"/>
                </a:lnTo>
                <a:lnTo>
                  <a:pt x="170898" y="12886"/>
                </a:lnTo>
                <a:lnTo>
                  <a:pt x="172023" y="12886"/>
                </a:lnTo>
                <a:lnTo>
                  <a:pt x="172125" y="13091"/>
                </a:lnTo>
                <a:lnTo>
                  <a:pt x="172636" y="12989"/>
                </a:lnTo>
                <a:lnTo>
                  <a:pt x="172330" y="12784"/>
                </a:lnTo>
                <a:lnTo>
                  <a:pt x="173045" y="11761"/>
                </a:lnTo>
                <a:lnTo>
                  <a:pt x="173045" y="11352"/>
                </a:lnTo>
                <a:lnTo>
                  <a:pt x="172330" y="11045"/>
                </a:lnTo>
                <a:lnTo>
                  <a:pt x="171307" y="9920"/>
                </a:lnTo>
                <a:lnTo>
                  <a:pt x="171307" y="9716"/>
                </a:lnTo>
                <a:lnTo>
                  <a:pt x="171102" y="9307"/>
                </a:lnTo>
                <a:lnTo>
                  <a:pt x="170284" y="8898"/>
                </a:lnTo>
                <a:lnTo>
                  <a:pt x="170182" y="7875"/>
                </a:lnTo>
                <a:lnTo>
                  <a:pt x="168545" y="7670"/>
                </a:lnTo>
                <a:lnTo>
                  <a:pt x="167727" y="8080"/>
                </a:lnTo>
                <a:lnTo>
                  <a:pt x="167625" y="8795"/>
                </a:lnTo>
                <a:lnTo>
                  <a:pt x="167114" y="9205"/>
                </a:lnTo>
                <a:lnTo>
                  <a:pt x="167727" y="9409"/>
                </a:lnTo>
                <a:lnTo>
                  <a:pt x="168034" y="10432"/>
                </a:lnTo>
                <a:lnTo>
                  <a:pt x="169875" y="10943"/>
                </a:lnTo>
                <a:lnTo>
                  <a:pt x="169568" y="11557"/>
                </a:lnTo>
                <a:lnTo>
                  <a:pt x="164148" y="10227"/>
                </a:lnTo>
                <a:lnTo>
                  <a:pt x="163636" y="10432"/>
                </a:lnTo>
                <a:lnTo>
                  <a:pt x="164352" y="10841"/>
                </a:lnTo>
                <a:lnTo>
                  <a:pt x="163841" y="11250"/>
                </a:lnTo>
                <a:lnTo>
                  <a:pt x="159648" y="11557"/>
                </a:lnTo>
                <a:lnTo>
                  <a:pt x="159648" y="11557"/>
                </a:lnTo>
                <a:lnTo>
                  <a:pt x="159955" y="11455"/>
                </a:lnTo>
                <a:lnTo>
                  <a:pt x="159852" y="11045"/>
                </a:lnTo>
                <a:lnTo>
                  <a:pt x="159750" y="11045"/>
                </a:lnTo>
                <a:lnTo>
                  <a:pt x="158830" y="11250"/>
                </a:lnTo>
                <a:lnTo>
                  <a:pt x="159136" y="11352"/>
                </a:lnTo>
                <a:lnTo>
                  <a:pt x="158830" y="11455"/>
                </a:lnTo>
                <a:lnTo>
                  <a:pt x="158625" y="11352"/>
                </a:lnTo>
                <a:lnTo>
                  <a:pt x="156682" y="11966"/>
                </a:lnTo>
                <a:lnTo>
                  <a:pt x="156886" y="12068"/>
                </a:lnTo>
                <a:lnTo>
                  <a:pt x="155250" y="12886"/>
                </a:lnTo>
                <a:lnTo>
                  <a:pt x="154330" y="12273"/>
                </a:lnTo>
                <a:lnTo>
                  <a:pt x="155352" y="11966"/>
                </a:lnTo>
                <a:lnTo>
                  <a:pt x="152898" y="11250"/>
                </a:lnTo>
                <a:lnTo>
                  <a:pt x="153614" y="11659"/>
                </a:lnTo>
                <a:lnTo>
                  <a:pt x="153614" y="12375"/>
                </a:lnTo>
                <a:lnTo>
                  <a:pt x="154227" y="12784"/>
                </a:lnTo>
                <a:lnTo>
                  <a:pt x="154227" y="13602"/>
                </a:lnTo>
                <a:lnTo>
                  <a:pt x="152795" y="13193"/>
                </a:lnTo>
                <a:lnTo>
                  <a:pt x="151466" y="14011"/>
                </a:lnTo>
                <a:lnTo>
                  <a:pt x="152080" y="14727"/>
                </a:lnTo>
                <a:lnTo>
                  <a:pt x="151568" y="14932"/>
                </a:lnTo>
                <a:lnTo>
                  <a:pt x="149625" y="14318"/>
                </a:lnTo>
                <a:lnTo>
                  <a:pt x="149420" y="14523"/>
                </a:lnTo>
                <a:lnTo>
                  <a:pt x="150545" y="15239"/>
                </a:lnTo>
                <a:lnTo>
                  <a:pt x="150341" y="15545"/>
                </a:lnTo>
                <a:lnTo>
                  <a:pt x="146864" y="13295"/>
                </a:lnTo>
                <a:lnTo>
                  <a:pt x="147068" y="13193"/>
                </a:lnTo>
                <a:lnTo>
                  <a:pt x="145636" y="12580"/>
                </a:lnTo>
                <a:lnTo>
                  <a:pt x="151057" y="13398"/>
                </a:lnTo>
                <a:lnTo>
                  <a:pt x="151977" y="12886"/>
                </a:lnTo>
                <a:lnTo>
                  <a:pt x="151875" y="12375"/>
                </a:lnTo>
                <a:lnTo>
                  <a:pt x="150648" y="11659"/>
                </a:lnTo>
                <a:lnTo>
                  <a:pt x="150750" y="11761"/>
                </a:lnTo>
                <a:lnTo>
                  <a:pt x="150750" y="11761"/>
                </a:lnTo>
                <a:lnTo>
                  <a:pt x="146455" y="10636"/>
                </a:lnTo>
                <a:lnTo>
                  <a:pt x="146045" y="10841"/>
                </a:lnTo>
                <a:lnTo>
                  <a:pt x="145841" y="10636"/>
                </a:lnTo>
                <a:lnTo>
                  <a:pt x="145841" y="10534"/>
                </a:lnTo>
                <a:lnTo>
                  <a:pt x="145227" y="10432"/>
                </a:lnTo>
                <a:lnTo>
                  <a:pt x="145739" y="10330"/>
                </a:lnTo>
                <a:lnTo>
                  <a:pt x="145023" y="10125"/>
                </a:lnTo>
                <a:lnTo>
                  <a:pt x="145023" y="10125"/>
                </a:lnTo>
                <a:lnTo>
                  <a:pt x="145125" y="10227"/>
                </a:lnTo>
                <a:lnTo>
                  <a:pt x="143591" y="10330"/>
                </a:lnTo>
                <a:lnTo>
                  <a:pt x="143489" y="10125"/>
                </a:lnTo>
                <a:lnTo>
                  <a:pt x="142875" y="9920"/>
                </a:lnTo>
                <a:lnTo>
                  <a:pt x="144102" y="9920"/>
                </a:lnTo>
                <a:lnTo>
                  <a:pt x="143080" y="9409"/>
                </a:lnTo>
                <a:lnTo>
                  <a:pt x="142466" y="9920"/>
                </a:lnTo>
                <a:lnTo>
                  <a:pt x="141955" y="9409"/>
                </a:lnTo>
                <a:lnTo>
                  <a:pt x="141443" y="9716"/>
                </a:lnTo>
                <a:lnTo>
                  <a:pt x="141341" y="9511"/>
                </a:lnTo>
                <a:lnTo>
                  <a:pt x="141136" y="9409"/>
                </a:lnTo>
                <a:lnTo>
                  <a:pt x="140727" y="9920"/>
                </a:lnTo>
                <a:lnTo>
                  <a:pt x="140830" y="9409"/>
                </a:lnTo>
                <a:lnTo>
                  <a:pt x="140318" y="9307"/>
                </a:lnTo>
                <a:lnTo>
                  <a:pt x="139398" y="10023"/>
                </a:lnTo>
                <a:lnTo>
                  <a:pt x="138886" y="9716"/>
                </a:lnTo>
                <a:lnTo>
                  <a:pt x="138068" y="9920"/>
                </a:lnTo>
                <a:lnTo>
                  <a:pt x="138477" y="10227"/>
                </a:lnTo>
                <a:lnTo>
                  <a:pt x="137864" y="10125"/>
                </a:lnTo>
                <a:lnTo>
                  <a:pt x="137557" y="10330"/>
                </a:lnTo>
                <a:lnTo>
                  <a:pt x="137761" y="10534"/>
                </a:lnTo>
                <a:lnTo>
                  <a:pt x="137352" y="10636"/>
                </a:lnTo>
                <a:lnTo>
                  <a:pt x="137352" y="10125"/>
                </a:lnTo>
                <a:lnTo>
                  <a:pt x="137045" y="10534"/>
                </a:lnTo>
                <a:lnTo>
                  <a:pt x="136330" y="10534"/>
                </a:lnTo>
                <a:lnTo>
                  <a:pt x="136636" y="10636"/>
                </a:lnTo>
                <a:lnTo>
                  <a:pt x="136125" y="10636"/>
                </a:lnTo>
                <a:lnTo>
                  <a:pt x="136125" y="10841"/>
                </a:lnTo>
                <a:lnTo>
                  <a:pt x="135818" y="10841"/>
                </a:lnTo>
                <a:lnTo>
                  <a:pt x="135716" y="11045"/>
                </a:lnTo>
                <a:lnTo>
                  <a:pt x="135102" y="11352"/>
                </a:lnTo>
                <a:lnTo>
                  <a:pt x="135818" y="11455"/>
                </a:lnTo>
                <a:lnTo>
                  <a:pt x="135307" y="11455"/>
                </a:lnTo>
                <a:lnTo>
                  <a:pt x="135102" y="11761"/>
                </a:lnTo>
                <a:lnTo>
                  <a:pt x="135102" y="11966"/>
                </a:lnTo>
                <a:lnTo>
                  <a:pt x="134795" y="11659"/>
                </a:lnTo>
                <a:lnTo>
                  <a:pt x="134386" y="11761"/>
                </a:lnTo>
                <a:lnTo>
                  <a:pt x="134591" y="11864"/>
                </a:lnTo>
                <a:lnTo>
                  <a:pt x="134080" y="12068"/>
                </a:lnTo>
                <a:lnTo>
                  <a:pt x="134386" y="12068"/>
                </a:lnTo>
                <a:lnTo>
                  <a:pt x="134693" y="12273"/>
                </a:lnTo>
                <a:lnTo>
                  <a:pt x="134693" y="12375"/>
                </a:lnTo>
                <a:lnTo>
                  <a:pt x="133875" y="12477"/>
                </a:lnTo>
                <a:lnTo>
                  <a:pt x="134591" y="12477"/>
                </a:lnTo>
                <a:lnTo>
                  <a:pt x="133364" y="12784"/>
                </a:lnTo>
                <a:lnTo>
                  <a:pt x="133568" y="12886"/>
                </a:lnTo>
                <a:lnTo>
                  <a:pt x="133057" y="13091"/>
                </a:lnTo>
                <a:lnTo>
                  <a:pt x="133670" y="13295"/>
                </a:lnTo>
                <a:lnTo>
                  <a:pt x="132852" y="13500"/>
                </a:lnTo>
                <a:lnTo>
                  <a:pt x="133057" y="13602"/>
                </a:lnTo>
                <a:lnTo>
                  <a:pt x="133057" y="14216"/>
                </a:lnTo>
                <a:lnTo>
                  <a:pt x="132750" y="14420"/>
                </a:lnTo>
                <a:lnTo>
                  <a:pt x="132545" y="14318"/>
                </a:lnTo>
                <a:lnTo>
                  <a:pt x="131932" y="14727"/>
                </a:lnTo>
                <a:lnTo>
                  <a:pt x="132239" y="14625"/>
                </a:lnTo>
                <a:lnTo>
                  <a:pt x="130909" y="15750"/>
                </a:lnTo>
                <a:lnTo>
                  <a:pt x="131114" y="15852"/>
                </a:lnTo>
                <a:lnTo>
                  <a:pt x="131830" y="15545"/>
                </a:lnTo>
                <a:lnTo>
                  <a:pt x="131727" y="15443"/>
                </a:lnTo>
                <a:lnTo>
                  <a:pt x="132136" y="15443"/>
                </a:lnTo>
                <a:lnTo>
                  <a:pt x="131932" y="15545"/>
                </a:lnTo>
                <a:lnTo>
                  <a:pt x="132136" y="15545"/>
                </a:lnTo>
                <a:lnTo>
                  <a:pt x="131727" y="15852"/>
                </a:lnTo>
                <a:lnTo>
                  <a:pt x="130091" y="15955"/>
                </a:lnTo>
                <a:lnTo>
                  <a:pt x="129886" y="16057"/>
                </a:lnTo>
                <a:lnTo>
                  <a:pt x="130193" y="16466"/>
                </a:lnTo>
                <a:lnTo>
                  <a:pt x="128864" y="16568"/>
                </a:lnTo>
                <a:lnTo>
                  <a:pt x="129886" y="16568"/>
                </a:lnTo>
                <a:lnTo>
                  <a:pt x="128785" y="16804"/>
                </a:lnTo>
                <a:lnTo>
                  <a:pt x="128785" y="16804"/>
                </a:lnTo>
                <a:lnTo>
                  <a:pt x="127841" y="17182"/>
                </a:lnTo>
                <a:lnTo>
                  <a:pt x="128966" y="17386"/>
                </a:lnTo>
                <a:lnTo>
                  <a:pt x="127739" y="17386"/>
                </a:lnTo>
                <a:lnTo>
                  <a:pt x="128045" y="18102"/>
                </a:lnTo>
                <a:lnTo>
                  <a:pt x="129477" y="17795"/>
                </a:lnTo>
                <a:lnTo>
                  <a:pt x="129580" y="18000"/>
                </a:lnTo>
                <a:lnTo>
                  <a:pt x="129273" y="18205"/>
                </a:lnTo>
                <a:lnTo>
                  <a:pt x="127739" y="18307"/>
                </a:lnTo>
                <a:lnTo>
                  <a:pt x="128250" y="18511"/>
                </a:lnTo>
                <a:lnTo>
                  <a:pt x="127943" y="18818"/>
                </a:lnTo>
                <a:lnTo>
                  <a:pt x="128250" y="19023"/>
                </a:lnTo>
                <a:lnTo>
                  <a:pt x="127943" y="19227"/>
                </a:lnTo>
                <a:lnTo>
                  <a:pt x="128045" y="19330"/>
                </a:lnTo>
                <a:lnTo>
                  <a:pt x="129170" y="18614"/>
                </a:lnTo>
                <a:lnTo>
                  <a:pt x="128864" y="19023"/>
                </a:lnTo>
                <a:lnTo>
                  <a:pt x="128557" y="19023"/>
                </a:lnTo>
                <a:lnTo>
                  <a:pt x="128659" y="19330"/>
                </a:lnTo>
                <a:lnTo>
                  <a:pt x="127943" y="19841"/>
                </a:lnTo>
                <a:lnTo>
                  <a:pt x="128864" y="19534"/>
                </a:lnTo>
                <a:lnTo>
                  <a:pt x="128557" y="19841"/>
                </a:lnTo>
                <a:lnTo>
                  <a:pt x="128864" y="20045"/>
                </a:lnTo>
                <a:lnTo>
                  <a:pt x="128250" y="20352"/>
                </a:lnTo>
                <a:lnTo>
                  <a:pt x="129068" y="20761"/>
                </a:lnTo>
                <a:lnTo>
                  <a:pt x="128966" y="20864"/>
                </a:lnTo>
                <a:lnTo>
                  <a:pt x="131011" y="20148"/>
                </a:lnTo>
                <a:lnTo>
                  <a:pt x="131114" y="19943"/>
                </a:lnTo>
                <a:lnTo>
                  <a:pt x="131727" y="19841"/>
                </a:lnTo>
                <a:lnTo>
                  <a:pt x="131727" y="19534"/>
                </a:lnTo>
                <a:lnTo>
                  <a:pt x="131830" y="19330"/>
                </a:lnTo>
                <a:lnTo>
                  <a:pt x="132034" y="19841"/>
                </a:lnTo>
                <a:lnTo>
                  <a:pt x="132443" y="20045"/>
                </a:lnTo>
                <a:lnTo>
                  <a:pt x="132443" y="20659"/>
                </a:lnTo>
                <a:lnTo>
                  <a:pt x="133670" y="22295"/>
                </a:lnTo>
                <a:lnTo>
                  <a:pt x="133670" y="22500"/>
                </a:lnTo>
                <a:lnTo>
                  <a:pt x="133773" y="22705"/>
                </a:lnTo>
                <a:lnTo>
                  <a:pt x="133466" y="22705"/>
                </a:lnTo>
                <a:lnTo>
                  <a:pt x="133875" y="23523"/>
                </a:lnTo>
                <a:lnTo>
                  <a:pt x="135000" y="23318"/>
                </a:lnTo>
                <a:lnTo>
                  <a:pt x="135205" y="22909"/>
                </a:lnTo>
                <a:lnTo>
                  <a:pt x="136023" y="22807"/>
                </a:lnTo>
                <a:lnTo>
                  <a:pt x="136432" y="20557"/>
                </a:lnTo>
                <a:lnTo>
                  <a:pt x="136636" y="20557"/>
                </a:lnTo>
                <a:lnTo>
                  <a:pt x="136023" y="20455"/>
                </a:lnTo>
                <a:lnTo>
                  <a:pt x="137761" y="19739"/>
                </a:lnTo>
                <a:lnTo>
                  <a:pt x="137250" y="19739"/>
                </a:lnTo>
                <a:lnTo>
                  <a:pt x="137966" y="19227"/>
                </a:lnTo>
                <a:lnTo>
                  <a:pt x="136636" y="18307"/>
                </a:lnTo>
                <a:lnTo>
                  <a:pt x="136432" y="17489"/>
                </a:lnTo>
                <a:lnTo>
                  <a:pt x="136636" y="17591"/>
                </a:lnTo>
                <a:lnTo>
                  <a:pt x="136636" y="17080"/>
                </a:lnTo>
                <a:lnTo>
                  <a:pt x="136432" y="16773"/>
                </a:lnTo>
                <a:lnTo>
                  <a:pt x="136943" y="16670"/>
                </a:lnTo>
                <a:lnTo>
                  <a:pt x="136841" y="16670"/>
                </a:lnTo>
                <a:lnTo>
                  <a:pt x="136739" y="16466"/>
                </a:lnTo>
                <a:lnTo>
                  <a:pt x="137148" y="16364"/>
                </a:lnTo>
                <a:lnTo>
                  <a:pt x="137045" y="16364"/>
                </a:lnTo>
                <a:lnTo>
                  <a:pt x="137455" y="16159"/>
                </a:lnTo>
                <a:lnTo>
                  <a:pt x="137352" y="16057"/>
                </a:lnTo>
                <a:lnTo>
                  <a:pt x="137864" y="15955"/>
                </a:lnTo>
                <a:lnTo>
                  <a:pt x="137864" y="15852"/>
                </a:lnTo>
                <a:lnTo>
                  <a:pt x="139091" y="15034"/>
                </a:lnTo>
                <a:lnTo>
                  <a:pt x="138784" y="14625"/>
                </a:lnTo>
                <a:lnTo>
                  <a:pt x="138886" y="14216"/>
                </a:lnTo>
                <a:lnTo>
                  <a:pt x="138989" y="14216"/>
                </a:lnTo>
                <a:lnTo>
                  <a:pt x="139193" y="14011"/>
                </a:lnTo>
                <a:lnTo>
                  <a:pt x="139398" y="14011"/>
                </a:lnTo>
                <a:lnTo>
                  <a:pt x="139295" y="13909"/>
                </a:lnTo>
                <a:lnTo>
                  <a:pt x="141034" y="13705"/>
                </a:lnTo>
                <a:lnTo>
                  <a:pt x="141545" y="14011"/>
                </a:lnTo>
                <a:lnTo>
                  <a:pt x="141648" y="14625"/>
                </a:lnTo>
                <a:lnTo>
                  <a:pt x="139807" y="15852"/>
                </a:lnTo>
                <a:lnTo>
                  <a:pt x="139807" y="15955"/>
                </a:lnTo>
                <a:lnTo>
                  <a:pt x="139295" y="16159"/>
                </a:lnTo>
                <a:lnTo>
                  <a:pt x="139602" y="18511"/>
                </a:lnTo>
                <a:lnTo>
                  <a:pt x="140523" y="18716"/>
                </a:lnTo>
                <a:lnTo>
                  <a:pt x="140523" y="18920"/>
                </a:lnTo>
                <a:lnTo>
                  <a:pt x="140727" y="18920"/>
                </a:lnTo>
                <a:lnTo>
                  <a:pt x="140830" y="19330"/>
                </a:lnTo>
                <a:lnTo>
                  <a:pt x="142977" y="18818"/>
                </a:lnTo>
                <a:lnTo>
                  <a:pt x="142875" y="18716"/>
                </a:lnTo>
                <a:lnTo>
                  <a:pt x="143386" y="18511"/>
                </a:lnTo>
                <a:lnTo>
                  <a:pt x="143284" y="18716"/>
                </a:lnTo>
                <a:lnTo>
                  <a:pt x="144731" y="18619"/>
                </a:lnTo>
                <a:lnTo>
                  <a:pt x="144731" y="18619"/>
                </a:lnTo>
                <a:lnTo>
                  <a:pt x="146045" y="19125"/>
                </a:lnTo>
                <a:lnTo>
                  <a:pt x="144920" y="19227"/>
                </a:lnTo>
                <a:lnTo>
                  <a:pt x="144818" y="19432"/>
                </a:lnTo>
                <a:lnTo>
                  <a:pt x="144614" y="19330"/>
                </a:lnTo>
                <a:lnTo>
                  <a:pt x="144511" y="19636"/>
                </a:lnTo>
                <a:lnTo>
                  <a:pt x="141750" y="19739"/>
                </a:lnTo>
                <a:lnTo>
                  <a:pt x="141341" y="20045"/>
                </a:lnTo>
                <a:lnTo>
                  <a:pt x="142261" y="20864"/>
                </a:lnTo>
                <a:lnTo>
                  <a:pt x="142261" y="21784"/>
                </a:lnTo>
                <a:lnTo>
                  <a:pt x="140318" y="21375"/>
                </a:lnTo>
                <a:lnTo>
                  <a:pt x="139909" y="22398"/>
                </a:lnTo>
                <a:lnTo>
                  <a:pt x="140011" y="23318"/>
                </a:lnTo>
                <a:lnTo>
                  <a:pt x="140114" y="23932"/>
                </a:lnTo>
                <a:lnTo>
                  <a:pt x="139807" y="23932"/>
                </a:lnTo>
                <a:lnTo>
                  <a:pt x="140011" y="23318"/>
                </a:lnTo>
                <a:lnTo>
                  <a:pt x="138886" y="24545"/>
                </a:lnTo>
                <a:lnTo>
                  <a:pt x="138375" y="24239"/>
                </a:lnTo>
                <a:lnTo>
                  <a:pt x="134693" y="24750"/>
                </a:lnTo>
                <a:lnTo>
                  <a:pt x="135307" y="25261"/>
                </a:lnTo>
                <a:lnTo>
                  <a:pt x="134795" y="25057"/>
                </a:lnTo>
                <a:lnTo>
                  <a:pt x="134693" y="24750"/>
                </a:lnTo>
                <a:lnTo>
                  <a:pt x="133773" y="24443"/>
                </a:lnTo>
                <a:lnTo>
                  <a:pt x="132852" y="24955"/>
                </a:lnTo>
                <a:lnTo>
                  <a:pt x="131625" y="24443"/>
                </a:lnTo>
                <a:lnTo>
                  <a:pt x="131625" y="24136"/>
                </a:lnTo>
                <a:lnTo>
                  <a:pt x="131318" y="23830"/>
                </a:lnTo>
                <a:lnTo>
                  <a:pt x="131420" y="23420"/>
                </a:lnTo>
                <a:lnTo>
                  <a:pt x="131727" y="23216"/>
                </a:lnTo>
                <a:lnTo>
                  <a:pt x="131625" y="23114"/>
                </a:lnTo>
                <a:lnTo>
                  <a:pt x="132341" y="22500"/>
                </a:lnTo>
                <a:lnTo>
                  <a:pt x="131932" y="22398"/>
                </a:lnTo>
                <a:lnTo>
                  <a:pt x="132034" y="21273"/>
                </a:lnTo>
                <a:lnTo>
                  <a:pt x="132034" y="21273"/>
                </a:lnTo>
                <a:lnTo>
                  <a:pt x="130602" y="21886"/>
                </a:lnTo>
                <a:lnTo>
                  <a:pt x="130602" y="22193"/>
                </a:lnTo>
                <a:lnTo>
                  <a:pt x="131011" y="22295"/>
                </a:lnTo>
                <a:lnTo>
                  <a:pt x="130705" y="22398"/>
                </a:lnTo>
                <a:lnTo>
                  <a:pt x="130295" y="22398"/>
                </a:lnTo>
                <a:lnTo>
                  <a:pt x="130295" y="23318"/>
                </a:lnTo>
                <a:lnTo>
                  <a:pt x="130909" y="24341"/>
                </a:lnTo>
                <a:lnTo>
                  <a:pt x="130807" y="24545"/>
                </a:lnTo>
                <a:lnTo>
                  <a:pt x="131625" y="25261"/>
                </a:lnTo>
                <a:lnTo>
                  <a:pt x="131011" y="25057"/>
                </a:lnTo>
                <a:lnTo>
                  <a:pt x="130705" y="25466"/>
                </a:lnTo>
                <a:lnTo>
                  <a:pt x="128864" y="25466"/>
                </a:lnTo>
                <a:lnTo>
                  <a:pt x="127739" y="26080"/>
                </a:lnTo>
                <a:lnTo>
                  <a:pt x="127432" y="27205"/>
                </a:lnTo>
                <a:lnTo>
                  <a:pt x="127227" y="27205"/>
                </a:lnTo>
                <a:lnTo>
                  <a:pt x="127534" y="27409"/>
                </a:lnTo>
                <a:lnTo>
                  <a:pt x="127534" y="27409"/>
                </a:lnTo>
                <a:lnTo>
                  <a:pt x="126818" y="27307"/>
                </a:lnTo>
                <a:lnTo>
                  <a:pt x="126818" y="27307"/>
                </a:lnTo>
                <a:lnTo>
                  <a:pt x="127432" y="27409"/>
                </a:lnTo>
                <a:lnTo>
                  <a:pt x="125386" y="28023"/>
                </a:lnTo>
                <a:lnTo>
                  <a:pt x="124977" y="28841"/>
                </a:lnTo>
                <a:lnTo>
                  <a:pt x="124261" y="29148"/>
                </a:lnTo>
                <a:lnTo>
                  <a:pt x="124466" y="29352"/>
                </a:lnTo>
                <a:lnTo>
                  <a:pt x="123239" y="29455"/>
                </a:lnTo>
                <a:lnTo>
                  <a:pt x="123136" y="29148"/>
                </a:lnTo>
                <a:lnTo>
                  <a:pt x="122727" y="29352"/>
                </a:lnTo>
                <a:lnTo>
                  <a:pt x="123034" y="30170"/>
                </a:lnTo>
                <a:lnTo>
                  <a:pt x="120375" y="30375"/>
                </a:lnTo>
                <a:lnTo>
                  <a:pt x="120784" y="30477"/>
                </a:lnTo>
                <a:lnTo>
                  <a:pt x="120477" y="30580"/>
                </a:lnTo>
                <a:lnTo>
                  <a:pt x="120682" y="30682"/>
                </a:lnTo>
                <a:lnTo>
                  <a:pt x="120375" y="30784"/>
                </a:lnTo>
                <a:lnTo>
                  <a:pt x="122011" y="31193"/>
                </a:lnTo>
                <a:lnTo>
                  <a:pt x="121909" y="31295"/>
                </a:lnTo>
                <a:lnTo>
                  <a:pt x="122114" y="31295"/>
                </a:lnTo>
                <a:lnTo>
                  <a:pt x="122114" y="31398"/>
                </a:lnTo>
                <a:lnTo>
                  <a:pt x="122727" y="31602"/>
                </a:lnTo>
                <a:lnTo>
                  <a:pt x="122420" y="31705"/>
                </a:lnTo>
                <a:lnTo>
                  <a:pt x="122523" y="32114"/>
                </a:lnTo>
                <a:lnTo>
                  <a:pt x="123239" y="32523"/>
                </a:lnTo>
                <a:lnTo>
                  <a:pt x="123341" y="33136"/>
                </a:lnTo>
                <a:lnTo>
                  <a:pt x="123136" y="33034"/>
                </a:lnTo>
                <a:lnTo>
                  <a:pt x="123750" y="33852"/>
                </a:lnTo>
                <a:lnTo>
                  <a:pt x="123750" y="33852"/>
                </a:lnTo>
                <a:lnTo>
                  <a:pt x="123239" y="33341"/>
                </a:lnTo>
                <a:lnTo>
                  <a:pt x="123136" y="34261"/>
                </a:lnTo>
                <a:lnTo>
                  <a:pt x="123239" y="34159"/>
                </a:lnTo>
                <a:lnTo>
                  <a:pt x="123239" y="34261"/>
                </a:lnTo>
                <a:lnTo>
                  <a:pt x="122830" y="35386"/>
                </a:lnTo>
                <a:lnTo>
                  <a:pt x="117409" y="35284"/>
                </a:lnTo>
                <a:lnTo>
                  <a:pt x="117307" y="35489"/>
                </a:lnTo>
                <a:lnTo>
                  <a:pt x="116898" y="35591"/>
                </a:lnTo>
                <a:lnTo>
                  <a:pt x="116693" y="36307"/>
                </a:lnTo>
                <a:lnTo>
                  <a:pt x="116898" y="36307"/>
                </a:lnTo>
                <a:lnTo>
                  <a:pt x="116898" y="36614"/>
                </a:lnTo>
                <a:lnTo>
                  <a:pt x="117000" y="36614"/>
                </a:lnTo>
                <a:lnTo>
                  <a:pt x="116182" y="40091"/>
                </a:lnTo>
                <a:lnTo>
                  <a:pt x="116795" y="39784"/>
                </a:lnTo>
                <a:lnTo>
                  <a:pt x="116386" y="40295"/>
                </a:lnTo>
                <a:lnTo>
                  <a:pt x="116687" y="40446"/>
                </a:lnTo>
                <a:lnTo>
                  <a:pt x="116687" y="40446"/>
                </a:lnTo>
                <a:lnTo>
                  <a:pt x="116489" y="41932"/>
                </a:lnTo>
                <a:lnTo>
                  <a:pt x="118330" y="41625"/>
                </a:lnTo>
                <a:lnTo>
                  <a:pt x="118739" y="42136"/>
                </a:lnTo>
                <a:lnTo>
                  <a:pt x="118841" y="42034"/>
                </a:lnTo>
                <a:lnTo>
                  <a:pt x="119455" y="42955"/>
                </a:lnTo>
                <a:lnTo>
                  <a:pt x="122420" y="42034"/>
                </a:lnTo>
                <a:lnTo>
                  <a:pt x="122727" y="41625"/>
                </a:lnTo>
                <a:lnTo>
                  <a:pt x="123545" y="41318"/>
                </a:lnTo>
                <a:lnTo>
                  <a:pt x="123852" y="40500"/>
                </a:lnTo>
                <a:lnTo>
                  <a:pt x="124261" y="40193"/>
                </a:lnTo>
                <a:lnTo>
                  <a:pt x="123955" y="39784"/>
                </a:lnTo>
                <a:lnTo>
                  <a:pt x="124773" y="38045"/>
                </a:lnTo>
                <a:lnTo>
                  <a:pt x="126818" y="36920"/>
                </a:lnTo>
                <a:lnTo>
                  <a:pt x="126818" y="35693"/>
                </a:lnTo>
                <a:lnTo>
                  <a:pt x="129682" y="35591"/>
                </a:lnTo>
                <a:lnTo>
                  <a:pt x="131318" y="34466"/>
                </a:lnTo>
                <a:lnTo>
                  <a:pt x="136943" y="38864"/>
                </a:lnTo>
                <a:lnTo>
                  <a:pt x="137250" y="38864"/>
                </a:lnTo>
                <a:lnTo>
                  <a:pt x="137761" y="40091"/>
                </a:lnTo>
                <a:lnTo>
                  <a:pt x="137557" y="40193"/>
                </a:lnTo>
                <a:lnTo>
                  <a:pt x="137352" y="40807"/>
                </a:lnTo>
                <a:lnTo>
                  <a:pt x="137761" y="41011"/>
                </a:lnTo>
                <a:lnTo>
                  <a:pt x="138170" y="39989"/>
                </a:lnTo>
                <a:lnTo>
                  <a:pt x="138580" y="39886"/>
                </a:lnTo>
                <a:lnTo>
                  <a:pt x="138477" y="39375"/>
                </a:lnTo>
                <a:lnTo>
                  <a:pt x="138068" y="39170"/>
                </a:lnTo>
                <a:lnTo>
                  <a:pt x="138375" y="38455"/>
                </a:lnTo>
                <a:lnTo>
                  <a:pt x="139602" y="38966"/>
                </a:lnTo>
                <a:lnTo>
                  <a:pt x="137455" y="37432"/>
                </a:lnTo>
                <a:lnTo>
                  <a:pt x="137557" y="37023"/>
                </a:lnTo>
                <a:lnTo>
                  <a:pt x="136432" y="36818"/>
                </a:lnTo>
                <a:lnTo>
                  <a:pt x="134182" y="34057"/>
                </a:lnTo>
                <a:lnTo>
                  <a:pt x="134284" y="33341"/>
                </a:lnTo>
                <a:lnTo>
                  <a:pt x="135307" y="33239"/>
                </a:lnTo>
                <a:lnTo>
                  <a:pt x="135205" y="33750"/>
                </a:lnTo>
                <a:lnTo>
                  <a:pt x="135716" y="33750"/>
                </a:lnTo>
                <a:lnTo>
                  <a:pt x="135818" y="33545"/>
                </a:lnTo>
                <a:lnTo>
                  <a:pt x="136841" y="34670"/>
                </a:lnTo>
                <a:lnTo>
                  <a:pt x="136534" y="34670"/>
                </a:lnTo>
                <a:lnTo>
                  <a:pt x="138784" y="36102"/>
                </a:lnTo>
                <a:lnTo>
                  <a:pt x="138170" y="35898"/>
                </a:lnTo>
                <a:lnTo>
                  <a:pt x="140420" y="37330"/>
                </a:lnTo>
                <a:lnTo>
                  <a:pt x="140420" y="38557"/>
                </a:lnTo>
                <a:lnTo>
                  <a:pt x="140318" y="38557"/>
                </a:lnTo>
                <a:lnTo>
                  <a:pt x="141955" y="39989"/>
                </a:lnTo>
                <a:lnTo>
                  <a:pt x="141648" y="39989"/>
                </a:lnTo>
                <a:lnTo>
                  <a:pt x="141955" y="40398"/>
                </a:lnTo>
                <a:lnTo>
                  <a:pt x="143080" y="40500"/>
                </a:lnTo>
                <a:lnTo>
                  <a:pt x="143489" y="40807"/>
                </a:lnTo>
                <a:lnTo>
                  <a:pt x="143489" y="40909"/>
                </a:lnTo>
                <a:lnTo>
                  <a:pt x="142159" y="40909"/>
                </a:lnTo>
                <a:lnTo>
                  <a:pt x="142773" y="42239"/>
                </a:lnTo>
                <a:lnTo>
                  <a:pt x="143284" y="42545"/>
                </a:lnTo>
                <a:lnTo>
                  <a:pt x="143898" y="42545"/>
                </a:lnTo>
                <a:lnTo>
                  <a:pt x="143489" y="41318"/>
                </a:lnTo>
                <a:lnTo>
                  <a:pt x="144102" y="41523"/>
                </a:lnTo>
                <a:lnTo>
                  <a:pt x="144102" y="41523"/>
                </a:lnTo>
                <a:lnTo>
                  <a:pt x="143591" y="41011"/>
                </a:lnTo>
                <a:lnTo>
                  <a:pt x="144205" y="41011"/>
                </a:lnTo>
                <a:lnTo>
                  <a:pt x="144409" y="40807"/>
                </a:lnTo>
                <a:lnTo>
                  <a:pt x="143182" y="39989"/>
                </a:lnTo>
                <a:lnTo>
                  <a:pt x="143591" y="39784"/>
                </a:lnTo>
                <a:lnTo>
                  <a:pt x="143386" y="39682"/>
                </a:lnTo>
                <a:lnTo>
                  <a:pt x="143591" y="39580"/>
                </a:lnTo>
                <a:lnTo>
                  <a:pt x="143693" y="39784"/>
                </a:lnTo>
                <a:lnTo>
                  <a:pt x="143591" y="39477"/>
                </a:lnTo>
                <a:lnTo>
                  <a:pt x="143080" y="38761"/>
                </a:lnTo>
                <a:lnTo>
                  <a:pt x="143284" y="38352"/>
                </a:lnTo>
                <a:lnTo>
                  <a:pt x="143740" y="38678"/>
                </a:lnTo>
                <a:lnTo>
                  <a:pt x="143740" y="38678"/>
                </a:lnTo>
                <a:lnTo>
                  <a:pt x="144205" y="38864"/>
                </a:lnTo>
                <a:lnTo>
                  <a:pt x="144102" y="38557"/>
                </a:lnTo>
                <a:lnTo>
                  <a:pt x="144511" y="38761"/>
                </a:lnTo>
                <a:lnTo>
                  <a:pt x="144000" y="38250"/>
                </a:lnTo>
                <a:lnTo>
                  <a:pt x="145636" y="38045"/>
                </a:lnTo>
                <a:lnTo>
                  <a:pt x="145943" y="38250"/>
                </a:lnTo>
                <a:lnTo>
                  <a:pt x="146557" y="38250"/>
                </a:lnTo>
                <a:lnTo>
                  <a:pt x="146045" y="38864"/>
                </a:lnTo>
                <a:lnTo>
                  <a:pt x="146864" y="39989"/>
                </a:lnTo>
                <a:lnTo>
                  <a:pt x="146761" y="40295"/>
                </a:lnTo>
                <a:lnTo>
                  <a:pt x="147068" y="40398"/>
                </a:lnTo>
                <a:lnTo>
                  <a:pt x="146659" y="40602"/>
                </a:lnTo>
                <a:lnTo>
                  <a:pt x="146455" y="40295"/>
                </a:lnTo>
                <a:lnTo>
                  <a:pt x="146352" y="40705"/>
                </a:lnTo>
                <a:lnTo>
                  <a:pt x="146864" y="40807"/>
                </a:lnTo>
                <a:lnTo>
                  <a:pt x="147477" y="41727"/>
                </a:lnTo>
                <a:lnTo>
                  <a:pt x="147375" y="41830"/>
                </a:lnTo>
                <a:lnTo>
                  <a:pt x="147273" y="41932"/>
                </a:lnTo>
                <a:lnTo>
                  <a:pt x="148091" y="41932"/>
                </a:lnTo>
                <a:lnTo>
                  <a:pt x="147477" y="42239"/>
                </a:lnTo>
                <a:lnTo>
                  <a:pt x="147989" y="42239"/>
                </a:lnTo>
                <a:lnTo>
                  <a:pt x="147989" y="42341"/>
                </a:lnTo>
                <a:lnTo>
                  <a:pt x="148602" y="42239"/>
                </a:lnTo>
                <a:lnTo>
                  <a:pt x="149523" y="42852"/>
                </a:lnTo>
                <a:lnTo>
                  <a:pt x="150136" y="42648"/>
                </a:lnTo>
                <a:lnTo>
                  <a:pt x="150341" y="42136"/>
                </a:lnTo>
                <a:lnTo>
                  <a:pt x="152080" y="42955"/>
                </a:lnTo>
                <a:lnTo>
                  <a:pt x="152898" y="42852"/>
                </a:lnTo>
                <a:lnTo>
                  <a:pt x="153511" y="42239"/>
                </a:lnTo>
                <a:lnTo>
                  <a:pt x="154227" y="42443"/>
                </a:lnTo>
                <a:lnTo>
                  <a:pt x="154636" y="42136"/>
                </a:lnTo>
                <a:lnTo>
                  <a:pt x="154023" y="47659"/>
                </a:lnTo>
                <a:lnTo>
                  <a:pt x="152489" y="48068"/>
                </a:lnTo>
                <a:lnTo>
                  <a:pt x="152080" y="47864"/>
                </a:lnTo>
                <a:lnTo>
                  <a:pt x="151773" y="47864"/>
                </a:lnTo>
                <a:lnTo>
                  <a:pt x="151773" y="47761"/>
                </a:lnTo>
                <a:lnTo>
                  <a:pt x="151261" y="47557"/>
                </a:lnTo>
                <a:lnTo>
                  <a:pt x="150648" y="47761"/>
                </a:lnTo>
                <a:lnTo>
                  <a:pt x="150955" y="47557"/>
                </a:lnTo>
                <a:lnTo>
                  <a:pt x="150955" y="47557"/>
                </a:lnTo>
                <a:lnTo>
                  <a:pt x="149114" y="48170"/>
                </a:lnTo>
                <a:lnTo>
                  <a:pt x="146148" y="47659"/>
                </a:lnTo>
                <a:lnTo>
                  <a:pt x="145739" y="47148"/>
                </a:lnTo>
                <a:lnTo>
                  <a:pt x="144102" y="46739"/>
                </a:lnTo>
                <a:lnTo>
                  <a:pt x="144000" y="46432"/>
                </a:lnTo>
                <a:lnTo>
                  <a:pt x="143489" y="46227"/>
                </a:lnTo>
                <a:lnTo>
                  <a:pt x="141955" y="46534"/>
                </a:lnTo>
                <a:lnTo>
                  <a:pt x="141443" y="47250"/>
                </a:lnTo>
                <a:lnTo>
                  <a:pt x="141648" y="48170"/>
                </a:lnTo>
                <a:lnTo>
                  <a:pt x="140114" y="48580"/>
                </a:lnTo>
                <a:lnTo>
                  <a:pt x="133773" y="45818"/>
                </a:lnTo>
                <a:lnTo>
                  <a:pt x="133875" y="45818"/>
                </a:lnTo>
                <a:lnTo>
                  <a:pt x="132750" y="44898"/>
                </a:lnTo>
                <a:lnTo>
                  <a:pt x="133568" y="43670"/>
                </a:lnTo>
                <a:lnTo>
                  <a:pt x="133159" y="43057"/>
                </a:lnTo>
                <a:lnTo>
                  <a:pt x="133466" y="41932"/>
                </a:lnTo>
                <a:lnTo>
                  <a:pt x="132852" y="42136"/>
                </a:lnTo>
                <a:lnTo>
                  <a:pt x="132852" y="41830"/>
                </a:lnTo>
                <a:lnTo>
                  <a:pt x="132545" y="41727"/>
                </a:lnTo>
                <a:lnTo>
                  <a:pt x="132545" y="41625"/>
                </a:lnTo>
                <a:lnTo>
                  <a:pt x="130807" y="42136"/>
                </a:lnTo>
                <a:lnTo>
                  <a:pt x="130295" y="41830"/>
                </a:lnTo>
                <a:lnTo>
                  <a:pt x="122318" y="43977"/>
                </a:lnTo>
                <a:lnTo>
                  <a:pt x="121602" y="43670"/>
                </a:lnTo>
                <a:lnTo>
                  <a:pt x="120477" y="43875"/>
                </a:lnTo>
                <a:lnTo>
                  <a:pt x="119659" y="43057"/>
                </a:lnTo>
                <a:lnTo>
                  <a:pt x="115568" y="48477"/>
                </a:lnTo>
                <a:lnTo>
                  <a:pt x="115773" y="48784"/>
                </a:lnTo>
                <a:lnTo>
                  <a:pt x="114034" y="50932"/>
                </a:lnTo>
                <a:lnTo>
                  <a:pt x="112909" y="51239"/>
                </a:lnTo>
                <a:lnTo>
                  <a:pt x="109943" y="55739"/>
                </a:lnTo>
                <a:lnTo>
                  <a:pt x="109943" y="55739"/>
                </a:lnTo>
                <a:lnTo>
                  <a:pt x="110148" y="55534"/>
                </a:lnTo>
                <a:lnTo>
                  <a:pt x="110148" y="55534"/>
                </a:lnTo>
                <a:lnTo>
                  <a:pt x="108920" y="58602"/>
                </a:lnTo>
                <a:lnTo>
                  <a:pt x="109432" y="58807"/>
                </a:lnTo>
                <a:lnTo>
                  <a:pt x="109432" y="60034"/>
                </a:lnTo>
                <a:lnTo>
                  <a:pt x="109636" y="59932"/>
                </a:lnTo>
                <a:lnTo>
                  <a:pt x="109330" y="63716"/>
                </a:lnTo>
                <a:lnTo>
                  <a:pt x="108409" y="64841"/>
                </a:lnTo>
                <a:lnTo>
                  <a:pt x="109023" y="65659"/>
                </a:lnTo>
                <a:lnTo>
                  <a:pt x="109227" y="65557"/>
                </a:lnTo>
                <a:lnTo>
                  <a:pt x="109227" y="66170"/>
                </a:lnTo>
                <a:lnTo>
                  <a:pt x="110250" y="66170"/>
                </a:lnTo>
                <a:lnTo>
                  <a:pt x="109330" y="66375"/>
                </a:lnTo>
                <a:lnTo>
                  <a:pt x="109227" y="66273"/>
                </a:lnTo>
                <a:lnTo>
                  <a:pt x="109023" y="67091"/>
                </a:lnTo>
                <a:lnTo>
                  <a:pt x="109023" y="67091"/>
                </a:lnTo>
                <a:lnTo>
                  <a:pt x="109227" y="66989"/>
                </a:lnTo>
                <a:lnTo>
                  <a:pt x="109739" y="67909"/>
                </a:lnTo>
                <a:lnTo>
                  <a:pt x="110557" y="67705"/>
                </a:lnTo>
                <a:lnTo>
                  <a:pt x="110557" y="67705"/>
                </a:lnTo>
                <a:lnTo>
                  <a:pt x="110148" y="67909"/>
                </a:lnTo>
                <a:lnTo>
                  <a:pt x="110557" y="68114"/>
                </a:lnTo>
                <a:lnTo>
                  <a:pt x="110148" y="68318"/>
                </a:lnTo>
                <a:lnTo>
                  <a:pt x="110250" y="68318"/>
                </a:lnTo>
                <a:lnTo>
                  <a:pt x="110455" y="68523"/>
                </a:lnTo>
                <a:lnTo>
                  <a:pt x="110352" y="68727"/>
                </a:lnTo>
                <a:lnTo>
                  <a:pt x="110557" y="68625"/>
                </a:lnTo>
                <a:lnTo>
                  <a:pt x="110659" y="68932"/>
                </a:lnTo>
                <a:lnTo>
                  <a:pt x="110864" y="69034"/>
                </a:lnTo>
                <a:lnTo>
                  <a:pt x="110966" y="68932"/>
                </a:lnTo>
                <a:lnTo>
                  <a:pt x="111375" y="69648"/>
                </a:lnTo>
                <a:lnTo>
                  <a:pt x="111784" y="69852"/>
                </a:lnTo>
                <a:lnTo>
                  <a:pt x="111784" y="70261"/>
                </a:lnTo>
                <a:lnTo>
                  <a:pt x="112295" y="70875"/>
                </a:lnTo>
                <a:lnTo>
                  <a:pt x="112193" y="71182"/>
                </a:lnTo>
                <a:lnTo>
                  <a:pt x="112500" y="71182"/>
                </a:lnTo>
                <a:lnTo>
                  <a:pt x="112193" y="71284"/>
                </a:lnTo>
                <a:lnTo>
                  <a:pt x="117511" y="75477"/>
                </a:lnTo>
                <a:lnTo>
                  <a:pt x="119557" y="74761"/>
                </a:lnTo>
                <a:lnTo>
                  <a:pt x="119250" y="74761"/>
                </a:lnTo>
                <a:lnTo>
                  <a:pt x="120477" y="74659"/>
                </a:lnTo>
                <a:lnTo>
                  <a:pt x="119966" y="74659"/>
                </a:lnTo>
                <a:lnTo>
                  <a:pt x="121295" y="74557"/>
                </a:lnTo>
                <a:lnTo>
                  <a:pt x="121398" y="74761"/>
                </a:lnTo>
                <a:lnTo>
                  <a:pt x="127534" y="73227"/>
                </a:lnTo>
                <a:lnTo>
                  <a:pt x="127330" y="73432"/>
                </a:lnTo>
                <a:lnTo>
                  <a:pt x="129170" y="74455"/>
                </a:lnTo>
                <a:lnTo>
                  <a:pt x="129170" y="74761"/>
                </a:lnTo>
                <a:lnTo>
                  <a:pt x="129068" y="74761"/>
                </a:lnTo>
                <a:lnTo>
                  <a:pt x="129886" y="75477"/>
                </a:lnTo>
                <a:lnTo>
                  <a:pt x="130091" y="75477"/>
                </a:lnTo>
                <a:lnTo>
                  <a:pt x="130398" y="75580"/>
                </a:lnTo>
                <a:lnTo>
                  <a:pt x="130295" y="75170"/>
                </a:lnTo>
                <a:lnTo>
                  <a:pt x="130398" y="75477"/>
                </a:lnTo>
                <a:lnTo>
                  <a:pt x="130602" y="75170"/>
                </a:lnTo>
                <a:lnTo>
                  <a:pt x="131420" y="75375"/>
                </a:lnTo>
                <a:lnTo>
                  <a:pt x="131625" y="74966"/>
                </a:lnTo>
                <a:lnTo>
                  <a:pt x="132341" y="75784"/>
                </a:lnTo>
                <a:lnTo>
                  <a:pt x="132955" y="75886"/>
                </a:lnTo>
                <a:lnTo>
                  <a:pt x="132852" y="79466"/>
                </a:lnTo>
                <a:lnTo>
                  <a:pt x="132648" y="79568"/>
                </a:lnTo>
                <a:lnTo>
                  <a:pt x="133261" y="79875"/>
                </a:lnTo>
                <a:lnTo>
                  <a:pt x="133057" y="79977"/>
                </a:lnTo>
                <a:lnTo>
                  <a:pt x="132648" y="79670"/>
                </a:lnTo>
                <a:lnTo>
                  <a:pt x="132443" y="80591"/>
                </a:lnTo>
                <a:lnTo>
                  <a:pt x="132034" y="80693"/>
                </a:lnTo>
                <a:lnTo>
                  <a:pt x="132852" y="81716"/>
                </a:lnTo>
                <a:lnTo>
                  <a:pt x="132852" y="81716"/>
                </a:lnTo>
                <a:lnTo>
                  <a:pt x="132341" y="81409"/>
                </a:lnTo>
                <a:lnTo>
                  <a:pt x="132750" y="82023"/>
                </a:lnTo>
                <a:lnTo>
                  <a:pt x="132648" y="82023"/>
                </a:lnTo>
                <a:lnTo>
                  <a:pt x="133261" y="82636"/>
                </a:lnTo>
                <a:lnTo>
                  <a:pt x="132955" y="82534"/>
                </a:lnTo>
                <a:lnTo>
                  <a:pt x="135205" y="85909"/>
                </a:lnTo>
                <a:lnTo>
                  <a:pt x="136023" y="86114"/>
                </a:lnTo>
                <a:lnTo>
                  <a:pt x="135307" y="86318"/>
                </a:lnTo>
                <a:lnTo>
                  <a:pt x="135920" y="89284"/>
                </a:lnTo>
                <a:lnTo>
                  <a:pt x="136023" y="89182"/>
                </a:lnTo>
                <a:lnTo>
                  <a:pt x="136432" y="92557"/>
                </a:lnTo>
                <a:lnTo>
                  <a:pt x="134795" y="96648"/>
                </a:lnTo>
                <a:lnTo>
                  <a:pt x="137045" y="103602"/>
                </a:lnTo>
                <a:lnTo>
                  <a:pt x="136943" y="103602"/>
                </a:lnTo>
                <a:lnTo>
                  <a:pt x="140011" y="115364"/>
                </a:lnTo>
                <a:lnTo>
                  <a:pt x="146148" y="114955"/>
                </a:lnTo>
                <a:lnTo>
                  <a:pt x="146557" y="114648"/>
                </a:lnTo>
                <a:lnTo>
                  <a:pt x="147068" y="114648"/>
                </a:lnTo>
                <a:lnTo>
                  <a:pt x="152693" y="109125"/>
                </a:lnTo>
                <a:lnTo>
                  <a:pt x="153205" y="106977"/>
                </a:lnTo>
                <a:lnTo>
                  <a:pt x="153102" y="107080"/>
                </a:lnTo>
                <a:lnTo>
                  <a:pt x="153205" y="106875"/>
                </a:lnTo>
                <a:lnTo>
                  <a:pt x="153205" y="106977"/>
                </a:lnTo>
                <a:lnTo>
                  <a:pt x="155659" y="104523"/>
                </a:lnTo>
                <a:lnTo>
                  <a:pt x="155659" y="102784"/>
                </a:lnTo>
                <a:lnTo>
                  <a:pt x="155557" y="103091"/>
                </a:lnTo>
                <a:lnTo>
                  <a:pt x="155045" y="100330"/>
                </a:lnTo>
                <a:lnTo>
                  <a:pt x="160670" y="95932"/>
                </a:lnTo>
                <a:lnTo>
                  <a:pt x="160875" y="91125"/>
                </a:lnTo>
                <a:lnTo>
                  <a:pt x="160057" y="90307"/>
                </a:lnTo>
                <a:lnTo>
                  <a:pt x="159955" y="87136"/>
                </a:lnTo>
                <a:lnTo>
                  <a:pt x="159341" y="86523"/>
                </a:lnTo>
                <a:lnTo>
                  <a:pt x="161284" y="82125"/>
                </a:lnTo>
                <a:lnTo>
                  <a:pt x="161693" y="82023"/>
                </a:lnTo>
                <a:lnTo>
                  <a:pt x="170591" y="69341"/>
                </a:lnTo>
                <a:lnTo>
                  <a:pt x="170386" y="69136"/>
                </a:lnTo>
                <a:lnTo>
                  <a:pt x="170284" y="69341"/>
                </a:lnTo>
                <a:lnTo>
                  <a:pt x="170182" y="67807"/>
                </a:lnTo>
                <a:lnTo>
                  <a:pt x="164557" y="69341"/>
                </a:lnTo>
                <a:lnTo>
                  <a:pt x="162511" y="68114"/>
                </a:lnTo>
                <a:lnTo>
                  <a:pt x="163330" y="67602"/>
                </a:lnTo>
                <a:lnTo>
                  <a:pt x="162920" y="66784"/>
                </a:lnTo>
                <a:lnTo>
                  <a:pt x="162920" y="66886"/>
                </a:lnTo>
                <a:lnTo>
                  <a:pt x="159955" y="64125"/>
                </a:lnTo>
                <a:lnTo>
                  <a:pt x="159955" y="64534"/>
                </a:lnTo>
                <a:lnTo>
                  <a:pt x="157193" y="58295"/>
                </a:lnTo>
                <a:lnTo>
                  <a:pt x="157193" y="58295"/>
                </a:lnTo>
                <a:lnTo>
                  <a:pt x="157295" y="58398"/>
                </a:lnTo>
                <a:lnTo>
                  <a:pt x="156375" y="56761"/>
                </a:lnTo>
                <a:lnTo>
                  <a:pt x="155966" y="56557"/>
                </a:lnTo>
                <a:lnTo>
                  <a:pt x="155659" y="56148"/>
                </a:lnTo>
                <a:lnTo>
                  <a:pt x="155864" y="55432"/>
                </a:lnTo>
                <a:lnTo>
                  <a:pt x="152591" y="49193"/>
                </a:lnTo>
                <a:lnTo>
                  <a:pt x="152591" y="49193"/>
                </a:lnTo>
                <a:lnTo>
                  <a:pt x="153716" y="51136"/>
                </a:lnTo>
                <a:lnTo>
                  <a:pt x="154330" y="50830"/>
                </a:lnTo>
                <a:lnTo>
                  <a:pt x="154739" y="49602"/>
                </a:lnTo>
                <a:lnTo>
                  <a:pt x="154534" y="51136"/>
                </a:lnTo>
                <a:lnTo>
                  <a:pt x="158727" y="56557"/>
                </a:lnTo>
                <a:lnTo>
                  <a:pt x="158625" y="56557"/>
                </a:lnTo>
                <a:lnTo>
                  <a:pt x="162614" y="64330"/>
                </a:lnTo>
                <a:lnTo>
                  <a:pt x="162511" y="64227"/>
                </a:lnTo>
                <a:lnTo>
                  <a:pt x="162511" y="64227"/>
                </a:lnTo>
                <a:lnTo>
                  <a:pt x="163330" y="66989"/>
                </a:lnTo>
                <a:lnTo>
                  <a:pt x="171102" y="63818"/>
                </a:lnTo>
                <a:lnTo>
                  <a:pt x="171102" y="63409"/>
                </a:lnTo>
                <a:lnTo>
                  <a:pt x="173557" y="62489"/>
                </a:lnTo>
                <a:lnTo>
                  <a:pt x="173659" y="61977"/>
                </a:lnTo>
                <a:lnTo>
                  <a:pt x="174580" y="61568"/>
                </a:lnTo>
                <a:lnTo>
                  <a:pt x="174989" y="60750"/>
                </a:lnTo>
                <a:lnTo>
                  <a:pt x="175807" y="60443"/>
                </a:lnTo>
                <a:lnTo>
                  <a:pt x="175705" y="59625"/>
                </a:lnTo>
                <a:lnTo>
                  <a:pt x="176114" y="58807"/>
                </a:lnTo>
                <a:lnTo>
                  <a:pt x="176216" y="59114"/>
                </a:lnTo>
                <a:lnTo>
                  <a:pt x="177341" y="57170"/>
                </a:lnTo>
                <a:lnTo>
                  <a:pt x="174273" y="54920"/>
                </a:lnTo>
                <a:lnTo>
                  <a:pt x="173864" y="52977"/>
                </a:lnTo>
                <a:lnTo>
                  <a:pt x="172330" y="55023"/>
                </a:lnTo>
                <a:lnTo>
                  <a:pt x="170080" y="55330"/>
                </a:lnTo>
                <a:lnTo>
                  <a:pt x="169875" y="55023"/>
                </a:lnTo>
                <a:lnTo>
                  <a:pt x="169568" y="55023"/>
                </a:lnTo>
                <a:lnTo>
                  <a:pt x="169670" y="54818"/>
                </a:lnTo>
                <a:lnTo>
                  <a:pt x="169466" y="54716"/>
                </a:lnTo>
                <a:lnTo>
                  <a:pt x="169670" y="54000"/>
                </a:lnTo>
                <a:lnTo>
                  <a:pt x="169466" y="53284"/>
                </a:lnTo>
                <a:lnTo>
                  <a:pt x="169057" y="53795"/>
                </a:lnTo>
                <a:lnTo>
                  <a:pt x="169057" y="54511"/>
                </a:lnTo>
                <a:lnTo>
                  <a:pt x="168239" y="53182"/>
                </a:lnTo>
                <a:lnTo>
                  <a:pt x="168341" y="53182"/>
                </a:lnTo>
                <a:lnTo>
                  <a:pt x="168239" y="52568"/>
                </a:lnTo>
                <a:lnTo>
                  <a:pt x="168341" y="52568"/>
                </a:lnTo>
                <a:lnTo>
                  <a:pt x="165886" y="49807"/>
                </a:lnTo>
                <a:lnTo>
                  <a:pt x="166193" y="49602"/>
                </a:lnTo>
                <a:lnTo>
                  <a:pt x="165989" y="49193"/>
                </a:lnTo>
                <a:lnTo>
                  <a:pt x="166398" y="49295"/>
                </a:lnTo>
                <a:lnTo>
                  <a:pt x="166807" y="48682"/>
                </a:lnTo>
                <a:lnTo>
                  <a:pt x="166807" y="48784"/>
                </a:lnTo>
                <a:lnTo>
                  <a:pt x="171409" y="52568"/>
                </a:lnTo>
                <a:lnTo>
                  <a:pt x="172943" y="52466"/>
                </a:lnTo>
                <a:lnTo>
                  <a:pt x="173557" y="52057"/>
                </a:lnTo>
                <a:lnTo>
                  <a:pt x="174273" y="52364"/>
                </a:lnTo>
                <a:lnTo>
                  <a:pt x="174580" y="53182"/>
                </a:lnTo>
                <a:lnTo>
                  <a:pt x="177545" y="54000"/>
                </a:lnTo>
                <a:lnTo>
                  <a:pt x="177648" y="53898"/>
                </a:lnTo>
                <a:lnTo>
                  <a:pt x="177750" y="54000"/>
                </a:lnTo>
                <a:lnTo>
                  <a:pt x="182761" y="53898"/>
                </a:lnTo>
                <a:lnTo>
                  <a:pt x="182557" y="53795"/>
                </a:lnTo>
                <a:lnTo>
                  <a:pt x="182557" y="53795"/>
                </a:lnTo>
                <a:lnTo>
                  <a:pt x="182864" y="53898"/>
                </a:lnTo>
                <a:lnTo>
                  <a:pt x="182966" y="53898"/>
                </a:lnTo>
                <a:lnTo>
                  <a:pt x="184091" y="55432"/>
                </a:lnTo>
                <a:lnTo>
                  <a:pt x="184500" y="55636"/>
                </a:lnTo>
                <a:lnTo>
                  <a:pt x="184500" y="55534"/>
                </a:lnTo>
                <a:lnTo>
                  <a:pt x="185114" y="55534"/>
                </a:lnTo>
                <a:lnTo>
                  <a:pt x="184909" y="56045"/>
                </a:lnTo>
                <a:lnTo>
                  <a:pt x="185727" y="56557"/>
                </a:lnTo>
                <a:lnTo>
                  <a:pt x="186750" y="56250"/>
                </a:lnTo>
                <a:lnTo>
                  <a:pt x="185727" y="57068"/>
                </a:lnTo>
                <a:lnTo>
                  <a:pt x="185420" y="57068"/>
                </a:lnTo>
                <a:lnTo>
                  <a:pt x="187568" y="58602"/>
                </a:lnTo>
                <a:lnTo>
                  <a:pt x="188386" y="58193"/>
                </a:lnTo>
                <a:lnTo>
                  <a:pt x="188284" y="57170"/>
                </a:lnTo>
                <a:lnTo>
                  <a:pt x="188898" y="57170"/>
                </a:lnTo>
                <a:lnTo>
                  <a:pt x="188693" y="57682"/>
                </a:lnTo>
                <a:lnTo>
                  <a:pt x="189205" y="57682"/>
                </a:lnTo>
                <a:lnTo>
                  <a:pt x="188795" y="57989"/>
                </a:lnTo>
                <a:lnTo>
                  <a:pt x="188898" y="57989"/>
                </a:lnTo>
                <a:lnTo>
                  <a:pt x="189307" y="60239"/>
                </a:lnTo>
                <a:lnTo>
                  <a:pt x="189205" y="60239"/>
                </a:lnTo>
                <a:lnTo>
                  <a:pt x="189205" y="60545"/>
                </a:lnTo>
                <a:lnTo>
                  <a:pt x="189307" y="60341"/>
                </a:lnTo>
                <a:lnTo>
                  <a:pt x="190636" y="64227"/>
                </a:lnTo>
                <a:lnTo>
                  <a:pt x="190534" y="64227"/>
                </a:lnTo>
                <a:lnTo>
                  <a:pt x="193160" y="69965"/>
                </a:lnTo>
                <a:lnTo>
                  <a:pt x="194216" y="71693"/>
                </a:lnTo>
                <a:lnTo>
                  <a:pt x="195955" y="70568"/>
                </a:lnTo>
                <a:lnTo>
                  <a:pt x="195545" y="70261"/>
                </a:lnTo>
                <a:lnTo>
                  <a:pt x="195852" y="69443"/>
                </a:lnTo>
                <a:lnTo>
                  <a:pt x="196364" y="69239"/>
                </a:lnTo>
                <a:lnTo>
                  <a:pt x="196568" y="66375"/>
                </a:lnTo>
                <a:lnTo>
                  <a:pt x="196466" y="66170"/>
                </a:lnTo>
                <a:lnTo>
                  <a:pt x="196261" y="63920"/>
                </a:lnTo>
                <a:lnTo>
                  <a:pt x="196875" y="63818"/>
                </a:lnTo>
                <a:lnTo>
                  <a:pt x="200455" y="59830"/>
                </a:lnTo>
                <a:lnTo>
                  <a:pt x="200250" y="59932"/>
                </a:lnTo>
                <a:lnTo>
                  <a:pt x="200250" y="59932"/>
                </a:lnTo>
                <a:lnTo>
                  <a:pt x="201580" y="58705"/>
                </a:lnTo>
                <a:lnTo>
                  <a:pt x="201477" y="58091"/>
                </a:lnTo>
                <a:lnTo>
                  <a:pt x="202398" y="57580"/>
                </a:lnTo>
                <a:lnTo>
                  <a:pt x="202295" y="57068"/>
                </a:lnTo>
                <a:lnTo>
                  <a:pt x="202500" y="57580"/>
                </a:lnTo>
                <a:lnTo>
                  <a:pt x="202705" y="57682"/>
                </a:lnTo>
                <a:lnTo>
                  <a:pt x="202909" y="57273"/>
                </a:lnTo>
                <a:lnTo>
                  <a:pt x="203114" y="57886"/>
                </a:lnTo>
                <a:lnTo>
                  <a:pt x="203216" y="57682"/>
                </a:lnTo>
                <a:lnTo>
                  <a:pt x="203420" y="57784"/>
                </a:lnTo>
                <a:lnTo>
                  <a:pt x="203420" y="57784"/>
                </a:lnTo>
                <a:lnTo>
                  <a:pt x="203216" y="57477"/>
                </a:lnTo>
                <a:lnTo>
                  <a:pt x="203318" y="57273"/>
                </a:lnTo>
                <a:lnTo>
                  <a:pt x="203625" y="57682"/>
                </a:lnTo>
                <a:lnTo>
                  <a:pt x="203625" y="57170"/>
                </a:lnTo>
                <a:lnTo>
                  <a:pt x="203830" y="57682"/>
                </a:lnTo>
                <a:lnTo>
                  <a:pt x="204136" y="56966"/>
                </a:lnTo>
                <a:lnTo>
                  <a:pt x="204136" y="57375"/>
                </a:lnTo>
                <a:lnTo>
                  <a:pt x="204341" y="57273"/>
                </a:lnTo>
                <a:lnTo>
                  <a:pt x="204341" y="57580"/>
                </a:lnTo>
                <a:lnTo>
                  <a:pt x="204648" y="57170"/>
                </a:lnTo>
                <a:lnTo>
                  <a:pt x="204545" y="56250"/>
                </a:lnTo>
                <a:lnTo>
                  <a:pt x="204239" y="55943"/>
                </a:lnTo>
                <a:lnTo>
                  <a:pt x="204443" y="55943"/>
                </a:lnTo>
                <a:lnTo>
                  <a:pt x="204443" y="55739"/>
                </a:lnTo>
                <a:lnTo>
                  <a:pt x="205773" y="57068"/>
                </a:lnTo>
                <a:lnTo>
                  <a:pt x="206795" y="59216"/>
                </a:lnTo>
                <a:lnTo>
                  <a:pt x="206795" y="58909"/>
                </a:lnTo>
                <a:lnTo>
                  <a:pt x="207102" y="59011"/>
                </a:lnTo>
                <a:lnTo>
                  <a:pt x="207307" y="59625"/>
                </a:lnTo>
                <a:lnTo>
                  <a:pt x="207307" y="59420"/>
                </a:lnTo>
                <a:lnTo>
                  <a:pt x="207818" y="59523"/>
                </a:lnTo>
                <a:lnTo>
                  <a:pt x="208125" y="60136"/>
                </a:lnTo>
                <a:lnTo>
                  <a:pt x="207716" y="60136"/>
                </a:lnTo>
                <a:lnTo>
                  <a:pt x="208125" y="60648"/>
                </a:lnTo>
                <a:lnTo>
                  <a:pt x="208125" y="60239"/>
                </a:lnTo>
                <a:lnTo>
                  <a:pt x="208432" y="60750"/>
                </a:lnTo>
                <a:lnTo>
                  <a:pt x="208330" y="60750"/>
                </a:lnTo>
                <a:lnTo>
                  <a:pt x="208739" y="63614"/>
                </a:lnTo>
                <a:lnTo>
                  <a:pt x="209148" y="63102"/>
                </a:lnTo>
                <a:lnTo>
                  <a:pt x="209148" y="63716"/>
                </a:lnTo>
                <a:lnTo>
                  <a:pt x="209352" y="63409"/>
                </a:lnTo>
                <a:lnTo>
                  <a:pt x="210170" y="63409"/>
                </a:lnTo>
                <a:lnTo>
                  <a:pt x="210477" y="63205"/>
                </a:lnTo>
                <a:lnTo>
                  <a:pt x="210477" y="62795"/>
                </a:lnTo>
                <a:lnTo>
                  <a:pt x="210886" y="62898"/>
                </a:lnTo>
                <a:lnTo>
                  <a:pt x="210989" y="62182"/>
                </a:lnTo>
                <a:lnTo>
                  <a:pt x="211807" y="63000"/>
                </a:lnTo>
                <a:lnTo>
                  <a:pt x="212318" y="64943"/>
                </a:lnTo>
                <a:lnTo>
                  <a:pt x="212216" y="64943"/>
                </a:lnTo>
                <a:lnTo>
                  <a:pt x="212523" y="65966"/>
                </a:lnTo>
                <a:lnTo>
                  <a:pt x="212625" y="65659"/>
                </a:lnTo>
                <a:lnTo>
                  <a:pt x="213239" y="69750"/>
                </a:lnTo>
                <a:lnTo>
                  <a:pt x="213341" y="69545"/>
                </a:lnTo>
                <a:lnTo>
                  <a:pt x="213136" y="71386"/>
                </a:lnTo>
                <a:lnTo>
                  <a:pt x="218045" y="78545"/>
                </a:lnTo>
                <a:lnTo>
                  <a:pt x="218455" y="78545"/>
                </a:lnTo>
                <a:lnTo>
                  <a:pt x="218557" y="78341"/>
                </a:lnTo>
                <a:lnTo>
                  <a:pt x="218864" y="78341"/>
                </a:lnTo>
                <a:lnTo>
                  <a:pt x="217739" y="74659"/>
                </a:lnTo>
                <a:lnTo>
                  <a:pt x="215182" y="72307"/>
                </a:lnTo>
                <a:lnTo>
                  <a:pt x="215284" y="72614"/>
                </a:lnTo>
                <a:lnTo>
                  <a:pt x="214875" y="72102"/>
                </a:lnTo>
                <a:lnTo>
                  <a:pt x="215182" y="72307"/>
                </a:lnTo>
                <a:lnTo>
                  <a:pt x="214875" y="71284"/>
                </a:lnTo>
                <a:lnTo>
                  <a:pt x="214773" y="71386"/>
                </a:lnTo>
                <a:lnTo>
                  <a:pt x="213852" y="69852"/>
                </a:lnTo>
                <a:lnTo>
                  <a:pt x="214364" y="66580"/>
                </a:lnTo>
                <a:lnTo>
                  <a:pt x="214261" y="66375"/>
                </a:lnTo>
                <a:lnTo>
                  <a:pt x="215080" y="66273"/>
                </a:lnTo>
                <a:lnTo>
                  <a:pt x="215080" y="66784"/>
                </a:lnTo>
                <a:lnTo>
                  <a:pt x="216409" y="67398"/>
                </a:lnTo>
                <a:lnTo>
                  <a:pt x="216409" y="67295"/>
                </a:lnTo>
                <a:lnTo>
                  <a:pt x="216716" y="67602"/>
                </a:lnTo>
                <a:lnTo>
                  <a:pt x="216716" y="67500"/>
                </a:lnTo>
                <a:lnTo>
                  <a:pt x="217023" y="68011"/>
                </a:lnTo>
                <a:lnTo>
                  <a:pt x="217125" y="67909"/>
                </a:lnTo>
                <a:lnTo>
                  <a:pt x="217330" y="68625"/>
                </a:lnTo>
                <a:lnTo>
                  <a:pt x="217636" y="68625"/>
                </a:lnTo>
                <a:lnTo>
                  <a:pt x="217739" y="69034"/>
                </a:lnTo>
                <a:lnTo>
                  <a:pt x="219068" y="69648"/>
                </a:lnTo>
                <a:lnTo>
                  <a:pt x="218966" y="71182"/>
                </a:lnTo>
                <a:lnTo>
                  <a:pt x="218966" y="71182"/>
                </a:lnTo>
                <a:lnTo>
                  <a:pt x="219886" y="70568"/>
                </a:lnTo>
                <a:lnTo>
                  <a:pt x="219886" y="69750"/>
                </a:lnTo>
                <a:lnTo>
                  <a:pt x="220500" y="70159"/>
                </a:lnTo>
                <a:lnTo>
                  <a:pt x="220091" y="69545"/>
                </a:lnTo>
                <a:lnTo>
                  <a:pt x="220602" y="69852"/>
                </a:lnTo>
                <a:lnTo>
                  <a:pt x="220398" y="69443"/>
                </a:lnTo>
                <a:lnTo>
                  <a:pt x="222545" y="68318"/>
                </a:lnTo>
                <a:lnTo>
                  <a:pt x="222737" y="67743"/>
                </a:lnTo>
                <a:lnTo>
                  <a:pt x="222648" y="67295"/>
                </a:lnTo>
                <a:lnTo>
                  <a:pt x="222750" y="67295"/>
                </a:lnTo>
                <a:lnTo>
                  <a:pt x="222750" y="66886"/>
                </a:lnTo>
                <a:lnTo>
                  <a:pt x="222852" y="67091"/>
                </a:lnTo>
                <a:lnTo>
                  <a:pt x="222545" y="65864"/>
                </a:lnTo>
                <a:lnTo>
                  <a:pt x="219375" y="61773"/>
                </a:lnTo>
                <a:lnTo>
                  <a:pt x="219477" y="61773"/>
                </a:lnTo>
                <a:lnTo>
                  <a:pt x="218659" y="60239"/>
                </a:lnTo>
                <a:lnTo>
                  <a:pt x="219170" y="58398"/>
                </a:lnTo>
                <a:lnTo>
                  <a:pt x="219682" y="58500"/>
                </a:lnTo>
                <a:lnTo>
                  <a:pt x="220602" y="57477"/>
                </a:lnTo>
                <a:lnTo>
                  <a:pt x="221216" y="57989"/>
                </a:lnTo>
                <a:lnTo>
                  <a:pt x="221625" y="57682"/>
                </a:lnTo>
                <a:lnTo>
                  <a:pt x="221830" y="57886"/>
                </a:lnTo>
                <a:lnTo>
                  <a:pt x="221830" y="58500"/>
                </a:lnTo>
                <a:lnTo>
                  <a:pt x="222239" y="59011"/>
                </a:lnTo>
                <a:lnTo>
                  <a:pt x="222136" y="59011"/>
                </a:lnTo>
                <a:lnTo>
                  <a:pt x="222545" y="59114"/>
                </a:lnTo>
                <a:lnTo>
                  <a:pt x="222239" y="58500"/>
                </a:lnTo>
                <a:lnTo>
                  <a:pt x="222443" y="58091"/>
                </a:lnTo>
                <a:lnTo>
                  <a:pt x="224080" y="57477"/>
                </a:lnTo>
                <a:lnTo>
                  <a:pt x="224591" y="57477"/>
                </a:lnTo>
                <a:lnTo>
                  <a:pt x="224693" y="57170"/>
                </a:lnTo>
                <a:lnTo>
                  <a:pt x="225102" y="57068"/>
                </a:lnTo>
                <a:lnTo>
                  <a:pt x="224795" y="56455"/>
                </a:lnTo>
                <a:lnTo>
                  <a:pt x="225000" y="56250"/>
                </a:lnTo>
                <a:lnTo>
                  <a:pt x="225716" y="57068"/>
                </a:lnTo>
                <a:lnTo>
                  <a:pt x="226023" y="56659"/>
                </a:lnTo>
                <a:lnTo>
                  <a:pt x="226125" y="56761"/>
                </a:lnTo>
                <a:lnTo>
                  <a:pt x="226534" y="56659"/>
                </a:lnTo>
                <a:lnTo>
                  <a:pt x="226739" y="56659"/>
                </a:lnTo>
                <a:lnTo>
                  <a:pt x="226739" y="56557"/>
                </a:lnTo>
                <a:lnTo>
                  <a:pt x="227352" y="56455"/>
                </a:lnTo>
                <a:lnTo>
                  <a:pt x="227761" y="55739"/>
                </a:lnTo>
                <a:lnTo>
                  <a:pt x="228170" y="55739"/>
                </a:lnTo>
                <a:lnTo>
                  <a:pt x="228375" y="55534"/>
                </a:lnTo>
                <a:lnTo>
                  <a:pt x="228477" y="54920"/>
                </a:lnTo>
                <a:lnTo>
                  <a:pt x="229807" y="54000"/>
                </a:lnTo>
                <a:lnTo>
                  <a:pt x="229705" y="53386"/>
                </a:lnTo>
                <a:lnTo>
                  <a:pt x="229193" y="53182"/>
                </a:lnTo>
                <a:lnTo>
                  <a:pt x="229807" y="52977"/>
                </a:lnTo>
                <a:lnTo>
                  <a:pt x="229398" y="52466"/>
                </a:lnTo>
                <a:lnTo>
                  <a:pt x="229602" y="52466"/>
                </a:lnTo>
                <a:lnTo>
                  <a:pt x="229807" y="52670"/>
                </a:lnTo>
                <a:lnTo>
                  <a:pt x="230318" y="50932"/>
                </a:lnTo>
                <a:lnTo>
                  <a:pt x="230727" y="50932"/>
                </a:lnTo>
                <a:lnTo>
                  <a:pt x="230523" y="50318"/>
                </a:lnTo>
                <a:lnTo>
                  <a:pt x="230625" y="50318"/>
                </a:lnTo>
                <a:lnTo>
                  <a:pt x="230318" y="50114"/>
                </a:lnTo>
                <a:lnTo>
                  <a:pt x="230727" y="50114"/>
                </a:lnTo>
                <a:lnTo>
                  <a:pt x="230625" y="49602"/>
                </a:lnTo>
                <a:lnTo>
                  <a:pt x="230318" y="49705"/>
                </a:lnTo>
                <a:lnTo>
                  <a:pt x="230625" y="49295"/>
                </a:lnTo>
                <a:lnTo>
                  <a:pt x="229807" y="48886"/>
                </a:lnTo>
                <a:lnTo>
                  <a:pt x="229295" y="49091"/>
                </a:lnTo>
                <a:lnTo>
                  <a:pt x="228886" y="48989"/>
                </a:lnTo>
                <a:lnTo>
                  <a:pt x="230011" y="48273"/>
                </a:lnTo>
                <a:lnTo>
                  <a:pt x="229909" y="47966"/>
                </a:lnTo>
                <a:lnTo>
                  <a:pt x="228682" y="47148"/>
                </a:lnTo>
                <a:lnTo>
                  <a:pt x="228170" y="47250"/>
                </a:lnTo>
                <a:lnTo>
                  <a:pt x="228477" y="47045"/>
                </a:lnTo>
                <a:lnTo>
                  <a:pt x="229807" y="47455"/>
                </a:lnTo>
                <a:lnTo>
                  <a:pt x="226227" y="44080"/>
                </a:lnTo>
                <a:lnTo>
                  <a:pt x="226739" y="43057"/>
                </a:lnTo>
                <a:lnTo>
                  <a:pt x="226534" y="42750"/>
                </a:lnTo>
                <a:lnTo>
                  <a:pt x="226534" y="42750"/>
                </a:lnTo>
                <a:lnTo>
                  <a:pt x="226739" y="42955"/>
                </a:lnTo>
                <a:lnTo>
                  <a:pt x="227045" y="42545"/>
                </a:lnTo>
                <a:lnTo>
                  <a:pt x="226943" y="42341"/>
                </a:lnTo>
                <a:lnTo>
                  <a:pt x="228170" y="41932"/>
                </a:lnTo>
                <a:lnTo>
                  <a:pt x="228170" y="41523"/>
                </a:lnTo>
                <a:lnTo>
                  <a:pt x="225920" y="41216"/>
                </a:lnTo>
                <a:lnTo>
                  <a:pt x="225511" y="41830"/>
                </a:lnTo>
                <a:lnTo>
                  <a:pt x="225000" y="41625"/>
                </a:lnTo>
                <a:lnTo>
                  <a:pt x="224898" y="41216"/>
                </a:lnTo>
                <a:lnTo>
                  <a:pt x="223159" y="39989"/>
                </a:lnTo>
                <a:lnTo>
                  <a:pt x="224182" y="39580"/>
                </a:lnTo>
                <a:lnTo>
                  <a:pt x="224284" y="38966"/>
                </a:lnTo>
                <a:lnTo>
                  <a:pt x="224898" y="38659"/>
                </a:lnTo>
                <a:lnTo>
                  <a:pt x="225000" y="38250"/>
                </a:lnTo>
                <a:lnTo>
                  <a:pt x="225614" y="37943"/>
                </a:lnTo>
                <a:lnTo>
                  <a:pt x="226227" y="38557"/>
                </a:lnTo>
                <a:lnTo>
                  <a:pt x="226023" y="39477"/>
                </a:lnTo>
                <a:lnTo>
                  <a:pt x="226432" y="39477"/>
                </a:lnTo>
                <a:lnTo>
                  <a:pt x="226432" y="39784"/>
                </a:lnTo>
                <a:lnTo>
                  <a:pt x="226125" y="39989"/>
                </a:lnTo>
                <a:lnTo>
                  <a:pt x="226534" y="39989"/>
                </a:lnTo>
                <a:lnTo>
                  <a:pt x="226636" y="39886"/>
                </a:lnTo>
                <a:lnTo>
                  <a:pt x="228273" y="38864"/>
                </a:lnTo>
                <a:lnTo>
                  <a:pt x="228682" y="39273"/>
                </a:lnTo>
                <a:lnTo>
                  <a:pt x="228784" y="39068"/>
                </a:lnTo>
                <a:lnTo>
                  <a:pt x="229500" y="39580"/>
                </a:lnTo>
                <a:lnTo>
                  <a:pt x="229602" y="40091"/>
                </a:lnTo>
                <a:lnTo>
                  <a:pt x="229909" y="40193"/>
                </a:lnTo>
                <a:lnTo>
                  <a:pt x="229500" y="40807"/>
                </a:lnTo>
                <a:lnTo>
                  <a:pt x="230011" y="40807"/>
                </a:lnTo>
                <a:lnTo>
                  <a:pt x="229807" y="41011"/>
                </a:lnTo>
                <a:lnTo>
                  <a:pt x="230114" y="41114"/>
                </a:lnTo>
                <a:lnTo>
                  <a:pt x="230216" y="41216"/>
                </a:lnTo>
                <a:lnTo>
                  <a:pt x="230420" y="41114"/>
                </a:lnTo>
                <a:lnTo>
                  <a:pt x="230523" y="40909"/>
                </a:lnTo>
                <a:lnTo>
                  <a:pt x="231955" y="42136"/>
                </a:lnTo>
                <a:lnTo>
                  <a:pt x="231341" y="42136"/>
                </a:lnTo>
                <a:lnTo>
                  <a:pt x="232670" y="44182"/>
                </a:lnTo>
                <a:lnTo>
                  <a:pt x="232568" y="44284"/>
                </a:lnTo>
                <a:lnTo>
                  <a:pt x="232670" y="44386"/>
                </a:lnTo>
                <a:lnTo>
                  <a:pt x="232466" y="44386"/>
                </a:lnTo>
                <a:lnTo>
                  <a:pt x="232875" y="44795"/>
                </a:lnTo>
                <a:lnTo>
                  <a:pt x="233080" y="44591"/>
                </a:lnTo>
                <a:lnTo>
                  <a:pt x="233182" y="44284"/>
                </a:lnTo>
                <a:lnTo>
                  <a:pt x="233489" y="44489"/>
                </a:lnTo>
                <a:lnTo>
                  <a:pt x="233386" y="44284"/>
                </a:lnTo>
                <a:lnTo>
                  <a:pt x="233591" y="44284"/>
                </a:lnTo>
                <a:lnTo>
                  <a:pt x="233693" y="44080"/>
                </a:lnTo>
                <a:lnTo>
                  <a:pt x="234205" y="44182"/>
                </a:lnTo>
                <a:lnTo>
                  <a:pt x="234614" y="43875"/>
                </a:lnTo>
                <a:lnTo>
                  <a:pt x="234614" y="42955"/>
                </a:lnTo>
                <a:lnTo>
                  <a:pt x="231034" y="39170"/>
                </a:lnTo>
                <a:lnTo>
                  <a:pt x="232261" y="38045"/>
                </a:lnTo>
                <a:lnTo>
                  <a:pt x="232057" y="36205"/>
                </a:lnTo>
                <a:lnTo>
                  <a:pt x="232057" y="36205"/>
                </a:lnTo>
                <a:lnTo>
                  <a:pt x="232364" y="36307"/>
                </a:lnTo>
                <a:lnTo>
                  <a:pt x="232670" y="35591"/>
                </a:lnTo>
                <a:lnTo>
                  <a:pt x="232977" y="35591"/>
                </a:lnTo>
                <a:lnTo>
                  <a:pt x="234102" y="36102"/>
                </a:lnTo>
                <a:lnTo>
                  <a:pt x="235739" y="30273"/>
                </a:lnTo>
                <a:lnTo>
                  <a:pt x="232670" y="25773"/>
                </a:lnTo>
                <a:lnTo>
                  <a:pt x="232670" y="25466"/>
                </a:lnTo>
                <a:lnTo>
                  <a:pt x="229909" y="24545"/>
                </a:lnTo>
                <a:lnTo>
                  <a:pt x="230420" y="25159"/>
                </a:lnTo>
                <a:lnTo>
                  <a:pt x="230318" y="25364"/>
                </a:lnTo>
                <a:lnTo>
                  <a:pt x="230114" y="24955"/>
                </a:lnTo>
                <a:lnTo>
                  <a:pt x="230114" y="25159"/>
                </a:lnTo>
                <a:lnTo>
                  <a:pt x="229500" y="25261"/>
                </a:lnTo>
                <a:lnTo>
                  <a:pt x="229602" y="24955"/>
                </a:lnTo>
                <a:lnTo>
                  <a:pt x="228886" y="24648"/>
                </a:lnTo>
                <a:lnTo>
                  <a:pt x="229193" y="25057"/>
                </a:lnTo>
                <a:lnTo>
                  <a:pt x="226841" y="23830"/>
                </a:lnTo>
                <a:lnTo>
                  <a:pt x="228068" y="21068"/>
                </a:lnTo>
                <a:lnTo>
                  <a:pt x="227864" y="20761"/>
                </a:lnTo>
                <a:lnTo>
                  <a:pt x="228170" y="20455"/>
                </a:lnTo>
                <a:lnTo>
                  <a:pt x="228170" y="20045"/>
                </a:lnTo>
                <a:lnTo>
                  <a:pt x="231034" y="19841"/>
                </a:lnTo>
                <a:lnTo>
                  <a:pt x="231034" y="19636"/>
                </a:lnTo>
                <a:lnTo>
                  <a:pt x="232875" y="19841"/>
                </a:lnTo>
                <a:lnTo>
                  <a:pt x="232568" y="19534"/>
                </a:lnTo>
                <a:lnTo>
                  <a:pt x="232875" y="19636"/>
                </a:lnTo>
                <a:lnTo>
                  <a:pt x="232670" y="19432"/>
                </a:lnTo>
                <a:lnTo>
                  <a:pt x="233898" y="19534"/>
                </a:lnTo>
                <a:lnTo>
                  <a:pt x="233795" y="19636"/>
                </a:lnTo>
                <a:lnTo>
                  <a:pt x="235432" y="19841"/>
                </a:lnTo>
                <a:lnTo>
                  <a:pt x="234716" y="19943"/>
                </a:lnTo>
                <a:lnTo>
                  <a:pt x="236250" y="19943"/>
                </a:lnTo>
                <a:lnTo>
                  <a:pt x="236250" y="19841"/>
                </a:lnTo>
                <a:lnTo>
                  <a:pt x="236966" y="19943"/>
                </a:lnTo>
                <a:lnTo>
                  <a:pt x="237068" y="19841"/>
                </a:lnTo>
                <a:lnTo>
                  <a:pt x="237580" y="19841"/>
                </a:lnTo>
                <a:lnTo>
                  <a:pt x="236557" y="19636"/>
                </a:lnTo>
                <a:lnTo>
                  <a:pt x="236148" y="18818"/>
                </a:lnTo>
                <a:lnTo>
                  <a:pt x="236352" y="17489"/>
                </a:lnTo>
                <a:lnTo>
                  <a:pt x="238602" y="17693"/>
                </a:lnTo>
                <a:lnTo>
                  <a:pt x="239011" y="18205"/>
                </a:lnTo>
                <a:lnTo>
                  <a:pt x="239216" y="18102"/>
                </a:lnTo>
                <a:lnTo>
                  <a:pt x="239625" y="18511"/>
                </a:lnTo>
                <a:lnTo>
                  <a:pt x="239932" y="18409"/>
                </a:lnTo>
                <a:lnTo>
                  <a:pt x="240341" y="17591"/>
                </a:lnTo>
                <a:lnTo>
                  <a:pt x="240239" y="17489"/>
                </a:lnTo>
                <a:lnTo>
                  <a:pt x="240648" y="17693"/>
                </a:lnTo>
                <a:lnTo>
                  <a:pt x="239727" y="16773"/>
                </a:lnTo>
                <a:lnTo>
                  <a:pt x="241364" y="16875"/>
                </a:lnTo>
                <a:lnTo>
                  <a:pt x="240648" y="16875"/>
                </a:lnTo>
                <a:lnTo>
                  <a:pt x="241875" y="18307"/>
                </a:lnTo>
                <a:lnTo>
                  <a:pt x="241261" y="18614"/>
                </a:lnTo>
                <a:lnTo>
                  <a:pt x="241261" y="19432"/>
                </a:lnTo>
                <a:lnTo>
                  <a:pt x="241159" y="19534"/>
                </a:lnTo>
                <a:lnTo>
                  <a:pt x="241057" y="20966"/>
                </a:lnTo>
                <a:lnTo>
                  <a:pt x="240648" y="20966"/>
                </a:lnTo>
                <a:lnTo>
                  <a:pt x="240750" y="21170"/>
                </a:lnTo>
                <a:lnTo>
                  <a:pt x="240443" y="21273"/>
                </a:lnTo>
                <a:lnTo>
                  <a:pt x="240852" y="21784"/>
                </a:lnTo>
                <a:lnTo>
                  <a:pt x="240852" y="22398"/>
                </a:lnTo>
                <a:lnTo>
                  <a:pt x="246784" y="27716"/>
                </a:lnTo>
                <a:lnTo>
                  <a:pt x="247091" y="26898"/>
                </a:lnTo>
                <a:lnTo>
                  <a:pt x="246273" y="25773"/>
                </a:lnTo>
                <a:lnTo>
                  <a:pt x="246273" y="25773"/>
                </a:lnTo>
                <a:lnTo>
                  <a:pt x="246580" y="25977"/>
                </a:lnTo>
                <a:lnTo>
                  <a:pt x="247398" y="25773"/>
                </a:lnTo>
                <a:lnTo>
                  <a:pt x="246477" y="24852"/>
                </a:lnTo>
                <a:lnTo>
                  <a:pt x="246580" y="24341"/>
                </a:lnTo>
                <a:lnTo>
                  <a:pt x="247193" y="24341"/>
                </a:lnTo>
                <a:lnTo>
                  <a:pt x="246068" y="22705"/>
                </a:lnTo>
                <a:lnTo>
                  <a:pt x="246170" y="22398"/>
                </a:lnTo>
                <a:lnTo>
                  <a:pt x="246375" y="22807"/>
                </a:lnTo>
                <a:lnTo>
                  <a:pt x="246784" y="22705"/>
                </a:lnTo>
                <a:lnTo>
                  <a:pt x="245045" y="21170"/>
                </a:lnTo>
                <a:lnTo>
                  <a:pt x="244330" y="21068"/>
                </a:lnTo>
                <a:lnTo>
                  <a:pt x="244432" y="21273"/>
                </a:lnTo>
                <a:lnTo>
                  <a:pt x="243614" y="20761"/>
                </a:lnTo>
                <a:lnTo>
                  <a:pt x="243307" y="19943"/>
                </a:lnTo>
                <a:lnTo>
                  <a:pt x="243409" y="19943"/>
                </a:lnTo>
                <a:lnTo>
                  <a:pt x="242898" y="19227"/>
                </a:lnTo>
                <a:lnTo>
                  <a:pt x="244023" y="19227"/>
                </a:lnTo>
                <a:lnTo>
                  <a:pt x="243818" y="19023"/>
                </a:lnTo>
                <a:lnTo>
                  <a:pt x="244330" y="18716"/>
                </a:lnTo>
                <a:lnTo>
                  <a:pt x="244943" y="19227"/>
                </a:lnTo>
                <a:lnTo>
                  <a:pt x="244943" y="18920"/>
                </a:lnTo>
                <a:lnTo>
                  <a:pt x="245250" y="18716"/>
                </a:lnTo>
                <a:lnTo>
                  <a:pt x="247807" y="19125"/>
                </a:lnTo>
                <a:lnTo>
                  <a:pt x="247398" y="18716"/>
                </a:lnTo>
                <a:lnTo>
                  <a:pt x="247909" y="18102"/>
                </a:lnTo>
                <a:lnTo>
                  <a:pt x="247807" y="18000"/>
                </a:lnTo>
                <a:lnTo>
                  <a:pt x="247909" y="17898"/>
                </a:lnTo>
                <a:lnTo>
                  <a:pt x="248011" y="17898"/>
                </a:lnTo>
                <a:lnTo>
                  <a:pt x="247807" y="17693"/>
                </a:lnTo>
                <a:lnTo>
                  <a:pt x="248011" y="17795"/>
                </a:lnTo>
                <a:lnTo>
                  <a:pt x="248011" y="17489"/>
                </a:lnTo>
                <a:lnTo>
                  <a:pt x="249545" y="16773"/>
                </a:lnTo>
                <a:lnTo>
                  <a:pt x="249136" y="16568"/>
                </a:lnTo>
                <a:lnTo>
                  <a:pt x="251182" y="16977"/>
                </a:lnTo>
                <a:lnTo>
                  <a:pt x="251080" y="16670"/>
                </a:lnTo>
                <a:lnTo>
                  <a:pt x="249443" y="15852"/>
                </a:lnTo>
                <a:lnTo>
                  <a:pt x="249443" y="15852"/>
                </a:lnTo>
                <a:lnTo>
                  <a:pt x="249545" y="15955"/>
                </a:lnTo>
                <a:lnTo>
                  <a:pt x="249545" y="15955"/>
                </a:lnTo>
                <a:lnTo>
                  <a:pt x="249136" y="15750"/>
                </a:lnTo>
                <a:lnTo>
                  <a:pt x="249239" y="15750"/>
                </a:lnTo>
                <a:lnTo>
                  <a:pt x="248011" y="15034"/>
                </a:lnTo>
                <a:lnTo>
                  <a:pt x="248114" y="15239"/>
                </a:lnTo>
                <a:lnTo>
                  <a:pt x="245045" y="14830"/>
                </a:lnTo>
                <a:lnTo>
                  <a:pt x="246682" y="14625"/>
                </a:lnTo>
                <a:lnTo>
                  <a:pt x="245761" y="14420"/>
                </a:lnTo>
                <a:lnTo>
                  <a:pt x="248318" y="14420"/>
                </a:lnTo>
                <a:lnTo>
                  <a:pt x="237375" y="10125"/>
                </a:lnTo>
                <a:lnTo>
                  <a:pt x="237477" y="10227"/>
                </a:lnTo>
                <a:lnTo>
                  <a:pt x="235330" y="10023"/>
                </a:lnTo>
                <a:lnTo>
                  <a:pt x="236864" y="11148"/>
                </a:lnTo>
                <a:lnTo>
                  <a:pt x="236864" y="11148"/>
                </a:lnTo>
                <a:lnTo>
                  <a:pt x="234000" y="10330"/>
                </a:lnTo>
                <a:lnTo>
                  <a:pt x="233795" y="10432"/>
                </a:lnTo>
                <a:lnTo>
                  <a:pt x="230523" y="10432"/>
                </a:lnTo>
                <a:lnTo>
                  <a:pt x="231136" y="11352"/>
                </a:lnTo>
                <a:lnTo>
                  <a:pt x="231136" y="11352"/>
                </a:lnTo>
                <a:lnTo>
                  <a:pt x="222034" y="9205"/>
                </a:lnTo>
                <a:lnTo>
                  <a:pt x="222239" y="9205"/>
                </a:lnTo>
                <a:lnTo>
                  <a:pt x="219375" y="8591"/>
                </a:lnTo>
                <a:lnTo>
                  <a:pt x="219886" y="8489"/>
                </a:lnTo>
                <a:lnTo>
                  <a:pt x="217636" y="8080"/>
                </a:lnTo>
                <a:lnTo>
                  <a:pt x="217330" y="8591"/>
                </a:lnTo>
                <a:lnTo>
                  <a:pt x="216614" y="8489"/>
                </a:lnTo>
                <a:lnTo>
                  <a:pt x="217023" y="8489"/>
                </a:lnTo>
                <a:lnTo>
                  <a:pt x="216716" y="8182"/>
                </a:lnTo>
                <a:lnTo>
                  <a:pt x="215693" y="8182"/>
                </a:lnTo>
                <a:lnTo>
                  <a:pt x="216920" y="8080"/>
                </a:lnTo>
                <a:lnTo>
                  <a:pt x="212727" y="7670"/>
                </a:lnTo>
                <a:lnTo>
                  <a:pt x="213341" y="7875"/>
                </a:lnTo>
                <a:lnTo>
                  <a:pt x="212420" y="8080"/>
                </a:lnTo>
                <a:lnTo>
                  <a:pt x="213239" y="8182"/>
                </a:lnTo>
                <a:lnTo>
                  <a:pt x="213034" y="8284"/>
                </a:lnTo>
                <a:lnTo>
                  <a:pt x="212932" y="8386"/>
                </a:lnTo>
                <a:lnTo>
                  <a:pt x="213852" y="8795"/>
                </a:lnTo>
                <a:lnTo>
                  <a:pt x="212830" y="8795"/>
                </a:lnTo>
                <a:lnTo>
                  <a:pt x="213034" y="9000"/>
                </a:lnTo>
                <a:lnTo>
                  <a:pt x="212830" y="9000"/>
                </a:lnTo>
                <a:lnTo>
                  <a:pt x="213034" y="9102"/>
                </a:lnTo>
                <a:lnTo>
                  <a:pt x="210886" y="8693"/>
                </a:lnTo>
                <a:lnTo>
                  <a:pt x="210580" y="8898"/>
                </a:lnTo>
                <a:lnTo>
                  <a:pt x="208739" y="8591"/>
                </a:lnTo>
                <a:lnTo>
                  <a:pt x="209045" y="9000"/>
                </a:lnTo>
                <a:lnTo>
                  <a:pt x="209045" y="9409"/>
                </a:lnTo>
                <a:lnTo>
                  <a:pt x="208534" y="9307"/>
                </a:lnTo>
                <a:lnTo>
                  <a:pt x="206591" y="8693"/>
                </a:lnTo>
                <a:lnTo>
                  <a:pt x="206898" y="8591"/>
                </a:lnTo>
                <a:lnTo>
                  <a:pt x="205057" y="8080"/>
                </a:lnTo>
                <a:lnTo>
                  <a:pt x="206386" y="8284"/>
                </a:lnTo>
                <a:lnTo>
                  <a:pt x="205364" y="7977"/>
                </a:lnTo>
                <a:lnTo>
                  <a:pt x="205773" y="7773"/>
                </a:lnTo>
                <a:lnTo>
                  <a:pt x="201068" y="7057"/>
                </a:lnTo>
                <a:lnTo>
                  <a:pt x="201682" y="7364"/>
                </a:lnTo>
                <a:lnTo>
                  <a:pt x="201170" y="7568"/>
                </a:lnTo>
                <a:lnTo>
                  <a:pt x="201477" y="7670"/>
                </a:lnTo>
                <a:lnTo>
                  <a:pt x="198205" y="7159"/>
                </a:lnTo>
                <a:lnTo>
                  <a:pt x="195034" y="7159"/>
                </a:lnTo>
                <a:lnTo>
                  <a:pt x="195443" y="7261"/>
                </a:lnTo>
                <a:lnTo>
                  <a:pt x="195545" y="7568"/>
                </a:lnTo>
                <a:lnTo>
                  <a:pt x="195955" y="7875"/>
                </a:lnTo>
                <a:lnTo>
                  <a:pt x="195545" y="7670"/>
                </a:lnTo>
                <a:lnTo>
                  <a:pt x="195545" y="7568"/>
                </a:lnTo>
                <a:lnTo>
                  <a:pt x="194830" y="7159"/>
                </a:lnTo>
                <a:lnTo>
                  <a:pt x="194830" y="6955"/>
                </a:lnTo>
                <a:lnTo>
                  <a:pt x="194216" y="6750"/>
                </a:lnTo>
                <a:lnTo>
                  <a:pt x="194011" y="6955"/>
                </a:lnTo>
                <a:lnTo>
                  <a:pt x="193193" y="6750"/>
                </a:lnTo>
                <a:lnTo>
                  <a:pt x="193295" y="6750"/>
                </a:lnTo>
                <a:lnTo>
                  <a:pt x="192989" y="6648"/>
                </a:lnTo>
                <a:lnTo>
                  <a:pt x="193091" y="6750"/>
                </a:lnTo>
                <a:lnTo>
                  <a:pt x="192375" y="6955"/>
                </a:lnTo>
                <a:lnTo>
                  <a:pt x="193193" y="6955"/>
                </a:lnTo>
                <a:lnTo>
                  <a:pt x="190432" y="7773"/>
                </a:lnTo>
                <a:lnTo>
                  <a:pt x="191966" y="6648"/>
                </a:lnTo>
                <a:lnTo>
                  <a:pt x="191966" y="6443"/>
                </a:lnTo>
                <a:lnTo>
                  <a:pt x="193193" y="5830"/>
                </a:lnTo>
                <a:lnTo>
                  <a:pt x="192068" y="5216"/>
                </a:lnTo>
                <a:lnTo>
                  <a:pt x="192068" y="5216"/>
                </a:lnTo>
                <a:lnTo>
                  <a:pt x="192989" y="5523"/>
                </a:lnTo>
                <a:lnTo>
                  <a:pt x="191966" y="4909"/>
                </a:lnTo>
                <a:lnTo>
                  <a:pt x="191966" y="5114"/>
                </a:lnTo>
                <a:lnTo>
                  <a:pt x="188489" y="4602"/>
                </a:lnTo>
                <a:lnTo>
                  <a:pt x="188489" y="4602"/>
                </a:lnTo>
                <a:lnTo>
                  <a:pt x="188591" y="4705"/>
                </a:lnTo>
                <a:lnTo>
                  <a:pt x="187670" y="4705"/>
                </a:lnTo>
                <a:lnTo>
                  <a:pt x="187977" y="4398"/>
                </a:lnTo>
                <a:lnTo>
                  <a:pt x="185830" y="4295"/>
                </a:lnTo>
                <a:lnTo>
                  <a:pt x="186648" y="4091"/>
                </a:lnTo>
                <a:lnTo>
                  <a:pt x="185114" y="3784"/>
                </a:lnTo>
                <a:close/>
                <a:moveTo>
                  <a:pt x="252818" y="91125"/>
                </a:moveTo>
                <a:lnTo>
                  <a:pt x="252307" y="92455"/>
                </a:lnTo>
                <a:lnTo>
                  <a:pt x="252205" y="92352"/>
                </a:lnTo>
                <a:lnTo>
                  <a:pt x="252000" y="92966"/>
                </a:lnTo>
                <a:lnTo>
                  <a:pt x="252102" y="93170"/>
                </a:lnTo>
                <a:lnTo>
                  <a:pt x="250364" y="97875"/>
                </a:lnTo>
                <a:lnTo>
                  <a:pt x="249341" y="98080"/>
                </a:lnTo>
                <a:lnTo>
                  <a:pt x="246375" y="95727"/>
                </a:lnTo>
                <a:lnTo>
                  <a:pt x="246170" y="95011"/>
                </a:lnTo>
                <a:lnTo>
                  <a:pt x="246886" y="93580"/>
                </a:lnTo>
                <a:lnTo>
                  <a:pt x="247091" y="93682"/>
                </a:lnTo>
                <a:lnTo>
                  <a:pt x="247705" y="92761"/>
                </a:lnTo>
                <a:lnTo>
                  <a:pt x="247193" y="92455"/>
                </a:lnTo>
                <a:lnTo>
                  <a:pt x="247091" y="92864"/>
                </a:lnTo>
                <a:lnTo>
                  <a:pt x="246784" y="92352"/>
                </a:lnTo>
                <a:lnTo>
                  <a:pt x="246886" y="92148"/>
                </a:lnTo>
                <a:lnTo>
                  <a:pt x="246886" y="92148"/>
                </a:lnTo>
                <a:lnTo>
                  <a:pt x="246170" y="92557"/>
                </a:lnTo>
                <a:lnTo>
                  <a:pt x="244227" y="91841"/>
                </a:lnTo>
                <a:lnTo>
                  <a:pt x="244023" y="91841"/>
                </a:lnTo>
                <a:lnTo>
                  <a:pt x="243716" y="91534"/>
                </a:lnTo>
                <a:lnTo>
                  <a:pt x="243307" y="91534"/>
                </a:lnTo>
                <a:lnTo>
                  <a:pt x="243818" y="91841"/>
                </a:lnTo>
                <a:lnTo>
                  <a:pt x="243920" y="92455"/>
                </a:lnTo>
                <a:lnTo>
                  <a:pt x="243614" y="92659"/>
                </a:lnTo>
                <a:lnTo>
                  <a:pt x="242591" y="92455"/>
                </a:lnTo>
                <a:lnTo>
                  <a:pt x="242182" y="92966"/>
                </a:lnTo>
                <a:lnTo>
                  <a:pt x="241977" y="92864"/>
                </a:lnTo>
                <a:lnTo>
                  <a:pt x="241977" y="93068"/>
                </a:lnTo>
                <a:lnTo>
                  <a:pt x="241773" y="93068"/>
                </a:lnTo>
                <a:lnTo>
                  <a:pt x="241466" y="93375"/>
                </a:lnTo>
                <a:lnTo>
                  <a:pt x="241466" y="93784"/>
                </a:lnTo>
                <a:lnTo>
                  <a:pt x="241159" y="93989"/>
                </a:lnTo>
                <a:lnTo>
                  <a:pt x="240852" y="95011"/>
                </a:lnTo>
                <a:lnTo>
                  <a:pt x="240955" y="95318"/>
                </a:lnTo>
                <a:lnTo>
                  <a:pt x="240750" y="95625"/>
                </a:lnTo>
                <a:lnTo>
                  <a:pt x="239420" y="95727"/>
                </a:lnTo>
                <a:lnTo>
                  <a:pt x="239318" y="95727"/>
                </a:lnTo>
                <a:lnTo>
                  <a:pt x="239318" y="95011"/>
                </a:lnTo>
                <a:lnTo>
                  <a:pt x="238500" y="94193"/>
                </a:lnTo>
                <a:lnTo>
                  <a:pt x="238295" y="94500"/>
                </a:lnTo>
                <a:lnTo>
                  <a:pt x="237784" y="94602"/>
                </a:lnTo>
                <a:lnTo>
                  <a:pt x="237375" y="95114"/>
                </a:lnTo>
                <a:lnTo>
                  <a:pt x="237273" y="95011"/>
                </a:lnTo>
                <a:lnTo>
                  <a:pt x="237273" y="94705"/>
                </a:lnTo>
                <a:lnTo>
                  <a:pt x="236557" y="95932"/>
                </a:lnTo>
                <a:lnTo>
                  <a:pt x="236250" y="95727"/>
                </a:lnTo>
                <a:lnTo>
                  <a:pt x="235943" y="96443"/>
                </a:lnTo>
                <a:lnTo>
                  <a:pt x="236148" y="96341"/>
                </a:lnTo>
                <a:lnTo>
                  <a:pt x="236045" y="96545"/>
                </a:lnTo>
                <a:lnTo>
                  <a:pt x="235841" y="96648"/>
                </a:lnTo>
                <a:lnTo>
                  <a:pt x="236148" y="96955"/>
                </a:lnTo>
                <a:lnTo>
                  <a:pt x="235023" y="97057"/>
                </a:lnTo>
                <a:lnTo>
                  <a:pt x="235125" y="97670"/>
                </a:lnTo>
                <a:lnTo>
                  <a:pt x="234818" y="98080"/>
                </a:lnTo>
                <a:lnTo>
                  <a:pt x="234614" y="97364"/>
                </a:lnTo>
                <a:lnTo>
                  <a:pt x="234307" y="97159"/>
                </a:lnTo>
                <a:lnTo>
                  <a:pt x="233795" y="97568"/>
                </a:lnTo>
                <a:lnTo>
                  <a:pt x="233489" y="98795"/>
                </a:lnTo>
                <a:lnTo>
                  <a:pt x="225511" y="103193"/>
                </a:lnTo>
                <a:lnTo>
                  <a:pt x="225614" y="102477"/>
                </a:lnTo>
                <a:lnTo>
                  <a:pt x="224591" y="105034"/>
                </a:lnTo>
                <a:lnTo>
                  <a:pt x="224795" y="106466"/>
                </a:lnTo>
                <a:lnTo>
                  <a:pt x="224386" y="106977"/>
                </a:lnTo>
                <a:lnTo>
                  <a:pt x="224386" y="107386"/>
                </a:lnTo>
                <a:lnTo>
                  <a:pt x="224080" y="106875"/>
                </a:lnTo>
                <a:lnTo>
                  <a:pt x="223977" y="106977"/>
                </a:lnTo>
                <a:lnTo>
                  <a:pt x="223875" y="106977"/>
                </a:lnTo>
                <a:lnTo>
                  <a:pt x="224284" y="113318"/>
                </a:lnTo>
                <a:lnTo>
                  <a:pt x="222955" y="115261"/>
                </a:lnTo>
                <a:lnTo>
                  <a:pt x="223159" y="115364"/>
                </a:lnTo>
                <a:lnTo>
                  <a:pt x="223568" y="115773"/>
                </a:lnTo>
                <a:lnTo>
                  <a:pt x="228989" y="114852"/>
                </a:lnTo>
                <a:lnTo>
                  <a:pt x="229193" y="114955"/>
                </a:lnTo>
                <a:lnTo>
                  <a:pt x="237068" y="112500"/>
                </a:lnTo>
                <a:lnTo>
                  <a:pt x="239932" y="113216"/>
                </a:lnTo>
                <a:lnTo>
                  <a:pt x="240136" y="113523"/>
                </a:lnTo>
                <a:lnTo>
                  <a:pt x="240034" y="113727"/>
                </a:lnTo>
                <a:lnTo>
                  <a:pt x="240341" y="115364"/>
                </a:lnTo>
                <a:lnTo>
                  <a:pt x="240034" y="115568"/>
                </a:lnTo>
                <a:lnTo>
                  <a:pt x="240341" y="115977"/>
                </a:lnTo>
                <a:lnTo>
                  <a:pt x="240648" y="115977"/>
                </a:lnTo>
                <a:lnTo>
                  <a:pt x="240648" y="115670"/>
                </a:lnTo>
                <a:lnTo>
                  <a:pt x="243205" y="113523"/>
                </a:lnTo>
                <a:lnTo>
                  <a:pt x="241261" y="116284"/>
                </a:lnTo>
                <a:lnTo>
                  <a:pt x="242795" y="115159"/>
                </a:lnTo>
                <a:lnTo>
                  <a:pt x="242795" y="115977"/>
                </a:lnTo>
                <a:lnTo>
                  <a:pt x="242182" y="116693"/>
                </a:lnTo>
                <a:lnTo>
                  <a:pt x="242182" y="116693"/>
                </a:lnTo>
                <a:lnTo>
                  <a:pt x="242898" y="116489"/>
                </a:lnTo>
                <a:lnTo>
                  <a:pt x="243000" y="116591"/>
                </a:lnTo>
                <a:lnTo>
                  <a:pt x="243102" y="116591"/>
                </a:lnTo>
                <a:lnTo>
                  <a:pt x="243102" y="116693"/>
                </a:lnTo>
                <a:lnTo>
                  <a:pt x="243000" y="116591"/>
                </a:lnTo>
                <a:lnTo>
                  <a:pt x="242898" y="116591"/>
                </a:lnTo>
                <a:lnTo>
                  <a:pt x="243000" y="119148"/>
                </a:lnTo>
                <a:lnTo>
                  <a:pt x="244739" y="119864"/>
                </a:lnTo>
                <a:lnTo>
                  <a:pt x="246273" y="119352"/>
                </a:lnTo>
                <a:lnTo>
                  <a:pt x="246170" y="119352"/>
                </a:lnTo>
                <a:lnTo>
                  <a:pt x="246784" y="119148"/>
                </a:lnTo>
                <a:lnTo>
                  <a:pt x="246784" y="119148"/>
                </a:lnTo>
                <a:lnTo>
                  <a:pt x="246273" y="119557"/>
                </a:lnTo>
                <a:lnTo>
                  <a:pt x="246989" y="119557"/>
                </a:lnTo>
                <a:lnTo>
                  <a:pt x="246784" y="119761"/>
                </a:lnTo>
                <a:lnTo>
                  <a:pt x="247193" y="120375"/>
                </a:lnTo>
                <a:lnTo>
                  <a:pt x="247500" y="120068"/>
                </a:lnTo>
                <a:lnTo>
                  <a:pt x="247295" y="120068"/>
                </a:lnTo>
                <a:lnTo>
                  <a:pt x="254148" y="115057"/>
                </a:lnTo>
                <a:lnTo>
                  <a:pt x="254045" y="114955"/>
                </a:lnTo>
                <a:lnTo>
                  <a:pt x="258648" y="109432"/>
                </a:lnTo>
                <a:lnTo>
                  <a:pt x="259261" y="106773"/>
                </a:lnTo>
                <a:lnTo>
                  <a:pt x="258648" y="104932"/>
                </a:lnTo>
                <a:lnTo>
                  <a:pt x="258034" y="104420"/>
                </a:lnTo>
                <a:lnTo>
                  <a:pt x="257932" y="103193"/>
                </a:lnTo>
                <a:lnTo>
                  <a:pt x="257318" y="103193"/>
                </a:lnTo>
                <a:lnTo>
                  <a:pt x="257318" y="103091"/>
                </a:lnTo>
                <a:lnTo>
                  <a:pt x="257114" y="103091"/>
                </a:lnTo>
                <a:lnTo>
                  <a:pt x="256909" y="101148"/>
                </a:lnTo>
                <a:lnTo>
                  <a:pt x="254966" y="99614"/>
                </a:lnTo>
                <a:lnTo>
                  <a:pt x="254761" y="95318"/>
                </a:lnTo>
                <a:lnTo>
                  <a:pt x="254250" y="94807"/>
                </a:lnTo>
                <a:lnTo>
                  <a:pt x="253739" y="94909"/>
                </a:lnTo>
                <a:lnTo>
                  <a:pt x="252920" y="91227"/>
                </a:lnTo>
                <a:lnTo>
                  <a:pt x="252818" y="91125"/>
                </a:lnTo>
                <a:close/>
                <a:moveTo>
                  <a:pt x="272352" y="115466"/>
                </a:moveTo>
                <a:lnTo>
                  <a:pt x="272352" y="116591"/>
                </a:lnTo>
                <a:lnTo>
                  <a:pt x="272659" y="116386"/>
                </a:lnTo>
                <a:lnTo>
                  <a:pt x="272352" y="116693"/>
                </a:lnTo>
                <a:lnTo>
                  <a:pt x="272352" y="117511"/>
                </a:lnTo>
                <a:lnTo>
                  <a:pt x="272557" y="117000"/>
                </a:lnTo>
                <a:lnTo>
                  <a:pt x="272557" y="117307"/>
                </a:lnTo>
                <a:lnTo>
                  <a:pt x="272659" y="117205"/>
                </a:lnTo>
                <a:lnTo>
                  <a:pt x="272455" y="117716"/>
                </a:lnTo>
                <a:lnTo>
                  <a:pt x="272352" y="117614"/>
                </a:lnTo>
                <a:lnTo>
                  <a:pt x="272352" y="118125"/>
                </a:lnTo>
                <a:lnTo>
                  <a:pt x="272659" y="118227"/>
                </a:lnTo>
                <a:lnTo>
                  <a:pt x="272352" y="118330"/>
                </a:lnTo>
                <a:lnTo>
                  <a:pt x="272352" y="118227"/>
                </a:lnTo>
                <a:lnTo>
                  <a:pt x="270920" y="120170"/>
                </a:lnTo>
                <a:lnTo>
                  <a:pt x="270205" y="120477"/>
                </a:lnTo>
                <a:lnTo>
                  <a:pt x="270716" y="121398"/>
                </a:lnTo>
                <a:lnTo>
                  <a:pt x="269386" y="122523"/>
                </a:lnTo>
                <a:lnTo>
                  <a:pt x="269591" y="122420"/>
                </a:lnTo>
                <a:lnTo>
                  <a:pt x="269489" y="122625"/>
                </a:lnTo>
                <a:lnTo>
                  <a:pt x="270102" y="122625"/>
                </a:lnTo>
                <a:lnTo>
                  <a:pt x="275216" y="118739"/>
                </a:lnTo>
                <a:lnTo>
                  <a:pt x="274091" y="119148"/>
                </a:lnTo>
                <a:lnTo>
                  <a:pt x="273273" y="118739"/>
                </a:lnTo>
                <a:lnTo>
                  <a:pt x="273580" y="117818"/>
                </a:lnTo>
                <a:lnTo>
                  <a:pt x="273477" y="117818"/>
                </a:lnTo>
                <a:lnTo>
                  <a:pt x="273477" y="117614"/>
                </a:lnTo>
                <a:lnTo>
                  <a:pt x="273170" y="118330"/>
                </a:lnTo>
                <a:lnTo>
                  <a:pt x="272659" y="117920"/>
                </a:lnTo>
                <a:lnTo>
                  <a:pt x="273273" y="116284"/>
                </a:lnTo>
                <a:lnTo>
                  <a:pt x="273068" y="116386"/>
                </a:lnTo>
                <a:lnTo>
                  <a:pt x="272761" y="115875"/>
                </a:lnTo>
                <a:lnTo>
                  <a:pt x="272557" y="115977"/>
                </a:lnTo>
                <a:lnTo>
                  <a:pt x="272557" y="115977"/>
                </a:lnTo>
                <a:lnTo>
                  <a:pt x="272659" y="115466"/>
                </a:lnTo>
                <a:close/>
                <a:moveTo>
                  <a:pt x="246959" y="123166"/>
                </a:moveTo>
                <a:lnTo>
                  <a:pt x="246901" y="123224"/>
                </a:lnTo>
                <a:lnTo>
                  <a:pt x="246901" y="123224"/>
                </a:lnTo>
                <a:lnTo>
                  <a:pt x="246959" y="123166"/>
                </a:lnTo>
                <a:close/>
                <a:moveTo>
                  <a:pt x="246901" y="123224"/>
                </a:moveTo>
                <a:lnTo>
                  <a:pt x="246886" y="123239"/>
                </a:lnTo>
                <a:lnTo>
                  <a:pt x="246784" y="123443"/>
                </a:lnTo>
                <a:lnTo>
                  <a:pt x="246784" y="123443"/>
                </a:lnTo>
                <a:lnTo>
                  <a:pt x="246901" y="123224"/>
                </a:lnTo>
                <a:close/>
                <a:moveTo>
                  <a:pt x="244841" y="121807"/>
                </a:moveTo>
                <a:lnTo>
                  <a:pt x="244330" y="123341"/>
                </a:lnTo>
                <a:lnTo>
                  <a:pt x="244432" y="123341"/>
                </a:lnTo>
                <a:lnTo>
                  <a:pt x="244330" y="123648"/>
                </a:lnTo>
                <a:lnTo>
                  <a:pt x="244227" y="123443"/>
                </a:lnTo>
                <a:lnTo>
                  <a:pt x="244330" y="124466"/>
                </a:lnTo>
                <a:lnTo>
                  <a:pt x="244023" y="124670"/>
                </a:lnTo>
                <a:lnTo>
                  <a:pt x="244739" y="124670"/>
                </a:lnTo>
                <a:lnTo>
                  <a:pt x="245659" y="123955"/>
                </a:lnTo>
                <a:lnTo>
                  <a:pt x="245557" y="124159"/>
                </a:lnTo>
                <a:lnTo>
                  <a:pt x="245557" y="124159"/>
                </a:lnTo>
                <a:lnTo>
                  <a:pt x="245966" y="124057"/>
                </a:lnTo>
                <a:lnTo>
                  <a:pt x="245761" y="124364"/>
                </a:lnTo>
                <a:lnTo>
                  <a:pt x="246901" y="123224"/>
                </a:lnTo>
                <a:lnTo>
                  <a:pt x="247602" y="121909"/>
                </a:lnTo>
                <a:lnTo>
                  <a:pt x="246375" y="122318"/>
                </a:lnTo>
                <a:lnTo>
                  <a:pt x="244841" y="121807"/>
                </a:lnTo>
                <a:close/>
                <a:moveTo>
                  <a:pt x="265623" y="124957"/>
                </a:moveTo>
                <a:lnTo>
                  <a:pt x="265500" y="124977"/>
                </a:lnTo>
                <a:lnTo>
                  <a:pt x="265705" y="124977"/>
                </a:lnTo>
                <a:lnTo>
                  <a:pt x="265623" y="124957"/>
                </a:lnTo>
                <a:close/>
                <a:moveTo>
                  <a:pt x="268568" y="121705"/>
                </a:moveTo>
                <a:lnTo>
                  <a:pt x="265091" y="124057"/>
                </a:lnTo>
                <a:lnTo>
                  <a:pt x="265193" y="123852"/>
                </a:lnTo>
                <a:lnTo>
                  <a:pt x="265193" y="123852"/>
                </a:lnTo>
                <a:lnTo>
                  <a:pt x="264784" y="124159"/>
                </a:lnTo>
                <a:lnTo>
                  <a:pt x="264580" y="124261"/>
                </a:lnTo>
                <a:lnTo>
                  <a:pt x="264375" y="124261"/>
                </a:lnTo>
                <a:lnTo>
                  <a:pt x="264375" y="124364"/>
                </a:lnTo>
                <a:lnTo>
                  <a:pt x="260489" y="126102"/>
                </a:lnTo>
                <a:lnTo>
                  <a:pt x="260489" y="126102"/>
                </a:lnTo>
                <a:lnTo>
                  <a:pt x="260591" y="126000"/>
                </a:lnTo>
                <a:lnTo>
                  <a:pt x="259466" y="126818"/>
                </a:lnTo>
                <a:lnTo>
                  <a:pt x="259670" y="126818"/>
                </a:lnTo>
                <a:lnTo>
                  <a:pt x="259364" y="126920"/>
                </a:lnTo>
                <a:lnTo>
                  <a:pt x="259568" y="126920"/>
                </a:lnTo>
                <a:lnTo>
                  <a:pt x="259063" y="127173"/>
                </a:lnTo>
                <a:lnTo>
                  <a:pt x="259063" y="127173"/>
                </a:lnTo>
                <a:lnTo>
                  <a:pt x="259159" y="127125"/>
                </a:lnTo>
                <a:lnTo>
                  <a:pt x="258955" y="127330"/>
                </a:lnTo>
                <a:lnTo>
                  <a:pt x="259261" y="127227"/>
                </a:lnTo>
                <a:lnTo>
                  <a:pt x="258955" y="127432"/>
                </a:lnTo>
                <a:lnTo>
                  <a:pt x="259670" y="127636"/>
                </a:lnTo>
                <a:lnTo>
                  <a:pt x="259875" y="127841"/>
                </a:lnTo>
                <a:lnTo>
                  <a:pt x="265295" y="124875"/>
                </a:lnTo>
                <a:lnTo>
                  <a:pt x="265623" y="124957"/>
                </a:lnTo>
                <a:lnTo>
                  <a:pt x="265623" y="124957"/>
                </a:lnTo>
                <a:lnTo>
                  <a:pt x="266114" y="124875"/>
                </a:lnTo>
                <a:lnTo>
                  <a:pt x="266011" y="124670"/>
                </a:lnTo>
                <a:lnTo>
                  <a:pt x="265909" y="124670"/>
                </a:lnTo>
                <a:lnTo>
                  <a:pt x="269284" y="122318"/>
                </a:lnTo>
                <a:lnTo>
                  <a:pt x="268875" y="122420"/>
                </a:lnTo>
                <a:lnTo>
                  <a:pt x="268875" y="122420"/>
                </a:lnTo>
                <a:lnTo>
                  <a:pt x="269080" y="122318"/>
                </a:lnTo>
                <a:lnTo>
                  <a:pt x="269284" y="122216"/>
                </a:lnTo>
                <a:lnTo>
                  <a:pt x="269284" y="122216"/>
                </a:lnTo>
                <a:lnTo>
                  <a:pt x="268670" y="122420"/>
                </a:lnTo>
                <a:lnTo>
                  <a:pt x="269080" y="122114"/>
                </a:lnTo>
                <a:lnTo>
                  <a:pt x="268159" y="122420"/>
                </a:lnTo>
                <a:lnTo>
                  <a:pt x="268261" y="122011"/>
                </a:lnTo>
                <a:lnTo>
                  <a:pt x="268568" y="121705"/>
                </a:lnTo>
                <a:close/>
                <a:moveTo>
                  <a:pt x="76909" y="132648"/>
                </a:moveTo>
                <a:lnTo>
                  <a:pt x="77216" y="132852"/>
                </a:lnTo>
                <a:lnTo>
                  <a:pt x="77011" y="132955"/>
                </a:lnTo>
                <a:lnTo>
                  <a:pt x="77216" y="133057"/>
                </a:lnTo>
                <a:lnTo>
                  <a:pt x="76807" y="133261"/>
                </a:lnTo>
                <a:lnTo>
                  <a:pt x="77625" y="133057"/>
                </a:lnTo>
                <a:lnTo>
                  <a:pt x="77830" y="132750"/>
                </a:lnTo>
                <a:lnTo>
                  <a:pt x="76909" y="132648"/>
                </a:lnTo>
                <a:close/>
                <a:moveTo>
                  <a:pt x="78136" y="132545"/>
                </a:moveTo>
                <a:lnTo>
                  <a:pt x="78136" y="133261"/>
                </a:lnTo>
                <a:lnTo>
                  <a:pt x="78648" y="133364"/>
                </a:lnTo>
                <a:lnTo>
                  <a:pt x="78545" y="133159"/>
                </a:lnTo>
                <a:lnTo>
                  <a:pt x="78852" y="133057"/>
                </a:lnTo>
                <a:lnTo>
                  <a:pt x="78955" y="132852"/>
                </a:lnTo>
                <a:lnTo>
                  <a:pt x="79057" y="132750"/>
                </a:lnTo>
                <a:lnTo>
                  <a:pt x="78750" y="132852"/>
                </a:lnTo>
                <a:lnTo>
                  <a:pt x="78443" y="132648"/>
                </a:lnTo>
                <a:lnTo>
                  <a:pt x="78545" y="132648"/>
                </a:lnTo>
                <a:lnTo>
                  <a:pt x="78136" y="132545"/>
                </a:lnTo>
                <a:close/>
                <a:moveTo>
                  <a:pt x="78136" y="133261"/>
                </a:moveTo>
                <a:lnTo>
                  <a:pt x="78136" y="133568"/>
                </a:lnTo>
                <a:lnTo>
                  <a:pt x="78341" y="133364"/>
                </a:lnTo>
                <a:lnTo>
                  <a:pt x="78136" y="133261"/>
                </a:lnTo>
                <a:close/>
                <a:moveTo>
                  <a:pt x="68830" y="133875"/>
                </a:moveTo>
                <a:lnTo>
                  <a:pt x="67970" y="133970"/>
                </a:lnTo>
                <a:lnTo>
                  <a:pt x="67970" y="133970"/>
                </a:lnTo>
                <a:lnTo>
                  <a:pt x="68114" y="133875"/>
                </a:lnTo>
                <a:close/>
                <a:moveTo>
                  <a:pt x="63920" y="8386"/>
                </a:moveTo>
                <a:lnTo>
                  <a:pt x="62795" y="8795"/>
                </a:lnTo>
                <a:lnTo>
                  <a:pt x="63000" y="8795"/>
                </a:lnTo>
                <a:lnTo>
                  <a:pt x="62182" y="9000"/>
                </a:lnTo>
                <a:lnTo>
                  <a:pt x="61568" y="10330"/>
                </a:lnTo>
                <a:lnTo>
                  <a:pt x="62693" y="10534"/>
                </a:lnTo>
                <a:lnTo>
                  <a:pt x="62693" y="10636"/>
                </a:lnTo>
                <a:lnTo>
                  <a:pt x="62386" y="10739"/>
                </a:lnTo>
                <a:lnTo>
                  <a:pt x="62591" y="10636"/>
                </a:lnTo>
                <a:lnTo>
                  <a:pt x="61977" y="10841"/>
                </a:lnTo>
                <a:lnTo>
                  <a:pt x="62080" y="10841"/>
                </a:lnTo>
                <a:lnTo>
                  <a:pt x="61568" y="11148"/>
                </a:lnTo>
                <a:lnTo>
                  <a:pt x="62182" y="11250"/>
                </a:lnTo>
                <a:lnTo>
                  <a:pt x="60136" y="12068"/>
                </a:lnTo>
                <a:lnTo>
                  <a:pt x="59727" y="12784"/>
                </a:lnTo>
                <a:lnTo>
                  <a:pt x="59216" y="12784"/>
                </a:lnTo>
                <a:lnTo>
                  <a:pt x="59216" y="13091"/>
                </a:lnTo>
                <a:lnTo>
                  <a:pt x="59114" y="12682"/>
                </a:lnTo>
                <a:lnTo>
                  <a:pt x="59420" y="12682"/>
                </a:lnTo>
                <a:lnTo>
                  <a:pt x="59727" y="12477"/>
                </a:lnTo>
                <a:lnTo>
                  <a:pt x="59420" y="12477"/>
                </a:lnTo>
                <a:lnTo>
                  <a:pt x="60239" y="11557"/>
                </a:lnTo>
                <a:lnTo>
                  <a:pt x="59523" y="11761"/>
                </a:lnTo>
                <a:lnTo>
                  <a:pt x="59523" y="11761"/>
                </a:lnTo>
                <a:lnTo>
                  <a:pt x="59932" y="11557"/>
                </a:lnTo>
                <a:lnTo>
                  <a:pt x="59523" y="11557"/>
                </a:lnTo>
                <a:lnTo>
                  <a:pt x="59420" y="11352"/>
                </a:lnTo>
                <a:lnTo>
                  <a:pt x="58602" y="11455"/>
                </a:lnTo>
                <a:lnTo>
                  <a:pt x="58500" y="11864"/>
                </a:lnTo>
                <a:lnTo>
                  <a:pt x="59114" y="11966"/>
                </a:lnTo>
                <a:lnTo>
                  <a:pt x="58500" y="12068"/>
                </a:lnTo>
                <a:lnTo>
                  <a:pt x="58295" y="11761"/>
                </a:lnTo>
                <a:lnTo>
                  <a:pt x="58295" y="11966"/>
                </a:lnTo>
                <a:lnTo>
                  <a:pt x="54307" y="11557"/>
                </a:lnTo>
                <a:lnTo>
                  <a:pt x="53795" y="11045"/>
                </a:lnTo>
                <a:lnTo>
                  <a:pt x="51750" y="11557"/>
                </a:lnTo>
                <a:lnTo>
                  <a:pt x="54000" y="11250"/>
                </a:lnTo>
                <a:lnTo>
                  <a:pt x="54000" y="11250"/>
                </a:lnTo>
                <a:lnTo>
                  <a:pt x="52057" y="11966"/>
                </a:lnTo>
                <a:lnTo>
                  <a:pt x="51239" y="13193"/>
                </a:lnTo>
                <a:lnTo>
                  <a:pt x="50932" y="12068"/>
                </a:lnTo>
                <a:lnTo>
                  <a:pt x="50727" y="11966"/>
                </a:lnTo>
                <a:lnTo>
                  <a:pt x="50625" y="11864"/>
                </a:lnTo>
                <a:lnTo>
                  <a:pt x="46943" y="11864"/>
                </a:lnTo>
                <a:lnTo>
                  <a:pt x="48375" y="11455"/>
                </a:lnTo>
                <a:lnTo>
                  <a:pt x="42341" y="10636"/>
                </a:lnTo>
                <a:lnTo>
                  <a:pt x="42852" y="10330"/>
                </a:lnTo>
                <a:lnTo>
                  <a:pt x="43057" y="9920"/>
                </a:lnTo>
                <a:lnTo>
                  <a:pt x="42545" y="10023"/>
                </a:lnTo>
                <a:lnTo>
                  <a:pt x="42750" y="10125"/>
                </a:lnTo>
                <a:lnTo>
                  <a:pt x="41420" y="10636"/>
                </a:lnTo>
                <a:lnTo>
                  <a:pt x="41420" y="9920"/>
                </a:lnTo>
                <a:lnTo>
                  <a:pt x="40909" y="9716"/>
                </a:lnTo>
                <a:lnTo>
                  <a:pt x="40909" y="9716"/>
                </a:lnTo>
                <a:lnTo>
                  <a:pt x="41011" y="9818"/>
                </a:lnTo>
                <a:lnTo>
                  <a:pt x="41114" y="9818"/>
                </a:lnTo>
                <a:lnTo>
                  <a:pt x="39580" y="10330"/>
                </a:lnTo>
                <a:lnTo>
                  <a:pt x="39989" y="10125"/>
                </a:lnTo>
                <a:lnTo>
                  <a:pt x="37841" y="10739"/>
                </a:lnTo>
                <a:lnTo>
                  <a:pt x="38045" y="10534"/>
                </a:lnTo>
                <a:lnTo>
                  <a:pt x="37739" y="10636"/>
                </a:lnTo>
                <a:lnTo>
                  <a:pt x="37841" y="10636"/>
                </a:lnTo>
                <a:lnTo>
                  <a:pt x="36409" y="11045"/>
                </a:lnTo>
                <a:lnTo>
                  <a:pt x="36102" y="11045"/>
                </a:lnTo>
                <a:lnTo>
                  <a:pt x="35898" y="11148"/>
                </a:lnTo>
                <a:lnTo>
                  <a:pt x="35898" y="11045"/>
                </a:lnTo>
                <a:lnTo>
                  <a:pt x="36102" y="11045"/>
                </a:lnTo>
                <a:lnTo>
                  <a:pt x="39682" y="9920"/>
                </a:lnTo>
                <a:lnTo>
                  <a:pt x="37330" y="10330"/>
                </a:lnTo>
                <a:lnTo>
                  <a:pt x="37432" y="10330"/>
                </a:lnTo>
                <a:lnTo>
                  <a:pt x="35795" y="10739"/>
                </a:lnTo>
                <a:lnTo>
                  <a:pt x="36307" y="10534"/>
                </a:lnTo>
                <a:lnTo>
                  <a:pt x="34466" y="10841"/>
                </a:lnTo>
                <a:lnTo>
                  <a:pt x="34670" y="10943"/>
                </a:lnTo>
                <a:lnTo>
                  <a:pt x="34364" y="11045"/>
                </a:lnTo>
                <a:lnTo>
                  <a:pt x="34568" y="11148"/>
                </a:lnTo>
                <a:lnTo>
                  <a:pt x="25466" y="9716"/>
                </a:lnTo>
                <a:lnTo>
                  <a:pt x="25773" y="9614"/>
                </a:lnTo>
                <a:lnTo>
                  <a:pt x="25466" y="9614"/>
                </a:lnTo>
                <a:lnTo>
                  <a:pt x="25466" y="9511"/>
                </a:lnTo>
                <a:lnTo>
                  <a:pt x="25364" y="9511"/>
                </a:lnTo>
                <a:lnTo>
                  <a:pt x="25773" y="9409"/>
                </a:lnTo>
                <a:lnTo>
                  <a:pt x="24239" y="9307"/>
                </a:lnTo>
                <a:lnTo>
                  <a:pt x="24341" y="9205"/>
                </a:lnTo>
                <a:lnTo>
                  <a:pt x="23318" y="9409"/>
                </a:lnTo>
                <a:lnTo>
                  <a:pt x="23318" y="9307"/>
                </a:lnTo>
                <a:lnTo>
                  <a:pt x="24034" y="9102"/>
                </a:lnTo>
                <a:lnTo>
                  <a:pt x="23625" y="9000"/>
                </a:lnTo>
                <a:lnTo>
                  <a:pt x="23727" y="8898"/>
                </a:lnTo>
                <a:lnTo>
                  <a:pt x="23727" y="8898"/>
                </a:lnTo>
                <a:lnTo>
                  <a:pt x="21068" y="9409"/>
                </a:lnTo>
                <a:lnTo>
                  <a:pt x="21068" y="9409"/>
                </a:lnTo>
                <a:lnTo>
                  <a:pt x="21273" y="9307"/>
                </a:lnTo>
                <a:lnTo>
                  <a:pt x="20455" y="9511"/>
                </a:lnTo>
                <a:lnTo>
                  <a:pt x="20761" y="9614"/>
                </a:lnTo>
                <a:lnTo>
                  <a:pt x="20148" y="9818"/>
                </a:lnTo>
                <a:lnTo>
                  <a:pt x="20045" y="9818"/>
                </a:lnTo>
                <a:lnTo>
                  <a:pt x="20455" y="9614"/>
                </a:lnTo>
                <a:lnTo>
                  <a:pt x="18637" y="9901"/>
                </a:lnTo>
                <a:lnTo>
                  <a:pt x="18637" y="9901"/>
                </a:lnTo>
                <a:lnTo>
                  <a:pt x="13295" y="11455"/>
                </a:lnTo>
                <a:lnTo>
                  <a:pt x="13398" y="11455"/>
                </a:lnTo>
                <a:lnTo>
                  <a:pt x="13193" y="11557"/>
                </a:lnTo>
                <a:lnTo>
                  <a:pt x="14011" y="12273"/>
                </a:lnTo>
                <a:lnTo>
                  <a:pt x="13909" y="12682"/>
                </a:lnTo>
                <a:lnTo>
                  <a:pt x="14625" y="12580"/>
                </a:lnTo>
                <a:lnTo>
                  <a:pt x="14625" y="12580"/>
                </a:lnTo>
                <a:lnTo>
                  <a:pt x="14523" y="12682"/>
                </a:lnTo>
                <a:lnTo>
                  <a:pt x="14932" y="12682"/>
                </a:lnTo>
                <a:lnTo>
                  <a:pt x="14523" y="12989"/>
                </a:lnTo>
                <a:lnTo>
                  <a:pt x="15341" y="13091"/>
                </a:lnTo>
                <a:lnTo>
                  <a:pt x="14727" y="13193"/>
                </a:lnTo>
                <a:lnTo>
                  <a:pt x="14523" y="12989"/>
                </a:lnTo>
                <a:lnTo>
                  <a:pt x="14420" y="12886"/>
                </a:lnTo>
                <a:lnTo>
                  <a:pt x="14420" y="12784"/>
                </a:lnTo>
                <a:lnTo>
                  <a:pt x="14114" y="12989"/>
                </a:lnTo>
                <a:lnTo>
                  <a:pt x="14114" y="13295"/>
                </a:lnTo>
                <a:lnTo>
                  <a:pt x="14523" y="13295"/>
                </a:lnTo>
                <a:lnTo>
                  <a:pt x="14420" y="13398"/>
                </a:lnTo>
                <a:lnTo>
                  <a:pt x="12375" y="13398"/>
                </a:lnTo>
                <a:lnTo>
                  <a:pt x="12886" y="13091"/>
                </a:lnTo>
                <a:lnTo>
                  <a:pt x="11250" y="13398"/>
                </a:lnTo>
                <a:lnTo>
                  <a:pt x="11352" y="13398"/>
                </a:lnTo>
                <a:lnTo>
                  <a:pt x="9205" y="13909"/>
                </a:lnTo>
                <a:lnTo>
                  <a:pt x="9818" y="14216"/>
                </a:lnTo>
                <a:lnTo>
                  <a:pt x="9102" y="14318"/>
                </a:lnTo>
                <a:lnTo>
                  <a:pt x="9205" y="14523"/>
                </a:lnTo>
                <a:lnTo>
                  <a:pt x="9102" y="14932"/>
                </a:lnTo>
                <a:lnTo>
                  <a:pt x="11045" y="14932"/>
                </a:lnTo>
                <a:lnTo>
                  <a:pt x="11045" y="15034"/>
                </a:lnTo>
                <a:lnTo>
                  <a:pt x="12580" y="14625"/>
                </a:lnTo>
                <a:lnTo>
                  <a:pt x="12784" y="14830"/>
                </a:lnTo>
                <a:lnTo>
                  <a:pt x="12068" y="15034"/>
                </a:lnTo>
                <a:lnTo>
                  <a:pt x="11659" y="15648"/>
                </a:lnTo>
                <a:lnTo>
                  <a:pt x="10534" y="15852"/>
                </a:lnTo>
                <a:lnTo>
                  <a:pt x="8795" y="16261"/>
                </a:lnTo>
                <a:lnTo>
                  <a:pt x="8489" y="16159"/>
                </a:lnTo>
                <a:lnTo>
                  <a:pt x="7745" y="16624"/>
                </a:lnTo>
                <a:lnTo>
                  <a:pt x="7745" y="16624"/>
                </a:lnTo>
                <a:lnTo>
                  <a:pt x="5727" y="17489"/>
                </a:lnTo>
                <a:lnTo>
                  <a:pt x="5830" y="17489"/>
                </a:lnTo>
                <a:lnTo>
                  <a:pt x="5420" y="17693"/>
                </a:lnTo>
                <a:lnTo>
                  <a:pt x="5625" y="17693"/>
                </a:lnTo>
                <a:lnTo>
                  <a:pt x="5318" y="17898"/>
                </a:lnTo>
                <a:lnTo>
                  <a:pt x="5420" y="17898"/>
                </a:lnTo>
                <a:lnTo>
                  <a:pt x="5318" y="18102"/>
                </a:lnTo>
                <a:lnTo>
                  <a:pt x="5318" y="18102"/>
                </a:lnTo>
                <a:lnTo>
                  <a:pt x="5727" y="17898"/>
                </a:lnTo>
                <a:lnTo>
                  <a:pt x="5625" y="18000"/>
                </a:lnTo>
                <a:lnTo>
                  <a:pt x="5727" y="18000"/>
                </a:lnTo>
                <a:lnTo>
                  <a:pt x="5625" y="18102"/>
                </a:lnTo>
                <a:lnTo>
                  <a:pt x="5830" y="18102"/>
                </a:lnTo>
                <a:lnTo>
                  <a:pt x="5420" y="18205"/>
                </a:lnTo>
                <a:lnTo>
                  <a:pt x="6545" y="18307"/>
                </a:lnTo>
                <a:lnTo>
                  <a:pt x="6239" y="18307"/>
                </a:lnTo>
                <a:lnTo>
                  <a:pt x="6443" y="18409"/>
                </a:lnTo>
                <a:lnTo>
                  <a:pt x="6034" y="18614"/>
                </a:lnTo>
                <a:lnTo>
                  <a:pt x="6034" y="18614"/>
                </a:lnTo>
                <a:lnTo>
                  <a:pt x="6136" y="18409"/>
                </a:lnTo>
                <a:lnTo>
                  <a:pt x="5625" y="18511"/>
                </a:lnTo>
                <a:lnTo>
                  <a:pt x="5625" y="18307"/>
                </a:lnTo>
                <a:lnTo>
                  <a:pt x="4807" y="18614"/>
                </a:lnTo>
                <a:lnTo>
                  <a:pt x="5011" y="18614"/>
                </a:lnTo>
                <a:lnTo>
                  <a:pt x="5011" y="19227"/>
                </a:lnTo>
                <a:lnTo>
                  <a:pt x="7466" y="18511"/>
                </a:lnTo>
                <a:lnTo>
                  <a:pt x="7466" y="18511"/>
                </a:lnTo>
                <a:lnTo>
                  <a:pt x="5727" y="19943"/>
                </a:lnTo>
                <a:lnTo>
                  <a:pt x="5932" y="19943"/>
                </a:lnTo>
                <a:lnTo>
                  <a:pt x="5011" y="20352"/>
                </a:lnTo>
                <a:lnTo>
                  <a:pt x="6750" y="20045"/>
                </a:lnTo>
                <a:lnTo>
                  <a:pt x="7159" y="20352"/>
                </a:lnTo>
                <a:lnTo>
                  <a:pt x="8386" y="20045"/>
                </a:lnTo>
                <a:lnTo>
                  <a:pt x="8386" y="20045"/>
                </a:lnTo>
                <a:lnTo>
                  <a:pt x="7875" y="20352"/>
                </a:lnTo>
                <a:lnTo>
                  <a:pt x="7875" y="20352"/>
                </a:lnTo>
                <a:lnTo>
                  <a:pt x="9511" y="19943"/>
                </a:lnTo>
                <a:lnTo>
                  <a:pt x="8080" y="20761"/>
                </a:lnTo>
                <a:lnTo>
                  <a:pt x="8182" y="20864"/>
                </a:lnTo>
                <a:lnTo>
                  <a:pt x="5523" y="22193"/>
                </a:lnTo>
                <a:lnTo>
                  <a:pt x="5523" y="22091"/>
                </a:lnTo>
                <a:lnTo>
                  <a:pt x="3375" y="22909"/>
                </a:lnTo>
                <a:lnTo>
                  <a:pt x="3375" y="23114"/>
                </a:lnTo>
                <a:lnTo>
                  <a:pt x="3170" y="23011"/>
                </a:lnTo>
                <a:lnTo>
                  <a:pt x="2966" y="23114"/>
                </a:lnTo>
                <a:lnTo>
                  <a:pt x="2966" y="23114"/>
                </a:lnTo>
                <a:lnTo>
                  <a:pt x="3170" y="22909"/>
                </a:lnTo>
                <a:lnTo>
                  <a:pt x="2864" y="23011"/>
                </a:lnTo>
                <a:lnTo>
                  <a:pt x="2864" y="23011"/>
                </a:lnTo>
                <a:lnTo>
                  <a:pt x="2966" y="22909"/>
                </a:lnTo>
                <a:lnTo>
                  <a:pt x="1120" y="23634"/>
                </a:lnTo>
                <a:lnTo>
                  <a:pt x="1120" y="23634"/>
                </a:lnTo>
                <a:lnTo>
                  <a:pt x="1023" y="23830"/>
                </a:lnTo>
                <a:lnTo>
                  <a:pt x="2276" y="23472"/>
                </a:lnTo>
                <a:lnTo>
                  <a:pt x="2276" y="23472"/>
                </a:lnTo>
                <a:lnTo>
                  <a:pt x="3886" y="23114"/>
                </a:lnTo>
                <a:lnTo>
                  <a:pt x="3682" y="23318"/>
                </a:lnTo>
                <a:lnTo>
                  <a:pt x="5069" y="22823"/>
                </a:lnTo>
                <a:lnTo>
                  <a:pt x="5069" y="22823"/>
                </a:lnTo>
                <a:lnTo>
                  <a:pt x="5216" y="22602"/>
                </a:lnTo>
                <a:lnTo>
                  <a:pt x="5932" y="22398"/>
                </a:lnTo>
                <a:lnTo>
                  <a:pt x="5830" y="22398"/>
                </a:lnTo>
                <a:lnTo>
                  <a:pt x="10534" y="20761"/>
                </a:lnTo>
                <a:lnTo>
                  <a:pt x="10432" y="20761"/>
                </a:lnTo>
                <a:lnTo>
                  <a:pt x="11352" y="20352"/>
                </a:lnTo>
                <a:lnTo>
                  <a:pt x="11455" y="19943"/>
                </a:lnTo>
                <a:lnTo>
                  <a:pt x="12580" y="19330"/>
                </a:lnTo>
                <a:lnTo>
                  <a:pt x="12580" y="19432"/>
                </a:lnTo>
                <a:lnTo>
                  <a:pt x="12886" y="19330"/>
                </a:lnTo>
                <a:lnTo>
                  <a:pt x="12886" y="19227"/>
                </a:lnTo>
                <a:lnTo>
                  <a:pt x="17386" y="17693"/>
                </a:lnTo>
                <a:lnTo>
                  <a:pt x="16568" y="18102"/>
                </a:lnTo>
                <a:lnTo>
                  <a:pt x="16875" y="18205"/>
                </a:lnTo>
                <a:lnTo>
                  <a:pt x="16875" y="18307"/>
                </a:lnTo>
                <a:lnTo>
                  <a:pt x="14011" y="19125"/>
                </a:lnTo>
                <a:lnTo>
                  <a:pt x="14318" y="19330"/>
                </a:lnTo>
                <a:lnTo>
                  <a:pt x="13193" y="19841"/>
                </a:lnTo>
                <a:lnTo>
                  <a:pt x="15443" y="19227"/>
                </a:lnTo>
                <a:lnTo>
                  <a:pt x="15443" y="19227"/>
                </a:lnTo>
                <a:lnTo>
                  <a:pt x="15341" y="19330"/>
                </a:lnTo>
                <a:lnTo>
                  <a:pt x="15852" y="19023"/>
                </a:lnTo>
                <a:lnTo>
                  <a:pt x="15852" y="19125"/>
                </a:lnTo>
                <a:lnTo>
                  <a:pt x="17284" y="18614"/>
                </a:lnTo>
                <a:lnTo>
                  <a:pt x="16875" y="18614"/>
                </a:lnTo>
                <a:lnTo>
                  <a:pt x="17284" y="18409"/>
                </a:lnTo>
                <a:lnTo>
                  <a:pt x="17182" y="18409"/>
                </a:lnTo>
                <a:lnTo>
                  <a:pt x="17554" y="18186"/>
                </a:lnTo>
                <a:lnTo>
                  <a:pt x="17554" y="18186"/>
                </a:lnTo>
                <a:lnTo>
                  <a:pt x="18205" y="18000"/>
                </a:lnTo>
                <a:lnTo>
                  <a:pt x="18205" y="18000"/>
                </a:lnTo>
                <a:lnTo>
                  <a:pt x="17795" y="18307"/>
                </a:lnTo>
                <a:lnTo>
                  <a:pt x="19125" y="18102"/>
                </a:lnTo>
                <a:lnTo>
                  <a:pt x="18614" y="18409"/>
                </a:lnTo>
                <a:lnTo>
                  <a:pt x="18818" y="18409"/>
                </a:lnTo>
                <a:lnTo>
                  <a:pt x="18818" y="18511"/>
                </a:lnTo>
                <a:lnTo>
                  <a:pt x="19125" y="18511"/>
                </a:lnTo>
                <a:lnTo>
                  <a:pt x="18818" y="18716"/>
                </a:lnTo>
                <a:lnTo>
                  <a:pt x="19227" y="18716"/>
                </a:lnTo>
                <a:lnTo>
                  <a:pt x="19841" y="18511"/>
                </a:lnTo>
                <a:lnTo>
                  <a:pt x="19432" y="18920"/>
                </a:lnTo>
                <a:lnTo>
                  <a:pt x="19636" y="19125"/>
                </a:lnTo>
                <a:lnTo>
                  <a:pt x="21682" y="19023"/>
                </a:lnTo>
                <a:lnTo>
                  <a:pt x="21682" y="19023"/>
                </a:lnTo>
                <a:lnTo>
                  <a:pt x="21477" y="19227"/>
                </a:lnTo>
                <a:lnTo>
                  <a:pt x="23216" y="19227"/>
                </a:lnTo>
                <a:lnTo>
                  <a:pt x="22295" y="19534"/>
                </a:lnTo>
                <a:lnTo>
                  <a:pt x="22909" y="19943"/>
                </a:lnTo>
                <a:lnTo>
                  <a:pt x="22807" y="19943"/>
                </a:lnTo>
                <a:lnTo>
                  <a:pt x="23216" y="20659"/>
                </a:lnTo>
                <a:lnTo>
                  <a:pt x="23830" y="20659"/>
                </a:lnTo>
                <a:lnTo>
                  <a:pt x="23830" y="20455"/>
                </a:lnTo>
                <a:lnTo>
                  <a:pt x="24034" y="20352"/>
                </a:lnTo>
                <a:lnTo>
                  <a:pt x="23625" y="20148"/>
                </a:lnTo>
                <a:lnTo>
                  <a:pt x="24545" y="20045"/>
                </a:lnTo>
                <a:lnTo>
                  <a:pt x="24443" y="20148"/>
                </a:lnTo>
                <a:lnTo>
                  <a:pt x="24648" y="20148"/>
                </a:lnTo>
                <a:lnTo>
                  <a:pt x="24136" y="20659"/>
                </a:lnTo>
                <a:lnTo>
                  <a:pt x="24545" y="20761"/>
                </a:lnTo>
                <a:lnTo>
                  <a:pt x="25466" y="19636"/>
                </a:lnTo>
                <a:lnTo>
                  <a:pt x="24955" y="20557"/>
                </a:lnTo>
                <a:lnTo>
                  <a:pt x="25159" y="20761"/>
                </a:lnTo>
                <a:lnTo>
                  <a:pt x="25670" y="20557"/>
                </a:lnTo>
                <a:lnTo>
                  <a:pt x="25159" y="20966"/>
                </a:lnTo>
                <a:lnTo>
                  <a:pt x="25568" y="21170"/>
                </a:lnTo>
                <a:lnTo>
                  <a:pt x="24750" y="21784"/>
                </a:lnTo>
                <a:lnTo>
                  <a:pt x="25159" y="21886"/>
                </a:lnTo>
                <a:lnTo>
                  <a:pt x="25159" y="22193"/>
                </a:lnTo>
                <a:lnTo>
                  <a:pt x="25057" y="22295"/>
                </a:lnTo>
                <a:lnTo>
                  <a:pt x="25364" y="22705"/>
                </a:lnTo>
                <a:lnTo>
                  <a:pt x="24648" y="23114"/>
                </a:lnTo>
                <a:lnTo>
                  <a:pt x="24545" y="23420"/>
                </a:lnTo>
                <a:lnTo>
                  <a:pt x="25670" y="22807"/>
                </a:lnTo>
                <a:lnTo>
                  <a:pt x="24750" y="24136"/>
                </a:lnTo>
                <a:lnTo>
                  <a:pt x="26284" y="23011"/>
                </a:lnTo>
                <a:lnTo>
                  <a:pt x="26284" y="23011"/>
                </a:lnTo>
                <a:lnTo>
                  <a:pt x="25568" y="23830"/>
                </a:lnTo>
                <a:lnTo>
                  <a:pt x="25568" y="23830"/>
                </a:lnTo>
                <a:lnTo>
                  <a:pt x="26182" y="23318"/>
                </a:lnTo>
                <a:lnTo>
                  <a:pt x="26182" y="23495"/>
                </a:lnTo>
                <a:lnTo>
                  <a:pt x="26182" y="23495"/>
                </a:lnTo>
                <a:lnTo>
                  <a:pt x="24750" y="24545"/>
                </a:lnTo>
                <a:lnTo>
                  <a:pt x="25159" y="24648"/>
                </a:lnTo>
                <a:lnTo>
                  <a:pt x="24443" y="25364"/>
                </a:lnTo>
                <a:lnTo>
                  <a:pt x="24443" y="25568"/>
                </a:lnTo>
                <a:lnTo>
                  <a:pt x="25261" y="25261"/>
                </a:lnTo>
                <a:lnTo>
                  <a:pt x="25364" y="25159"/>
                </a:lnTo>
                <a:lnTo>
                  <a:pt x="25773" y="25057"/>
                </a:lnTo>
                <a:lnTo>
                  <a:pt x="25364" y="25261"/>
                </a:lnTo>
                <a:lnTo>
                  <a:pt x="25773" y="25568"/>
                </a:lnTo>
                <a:lnTo>
                  <a:pt x="25261" y="25261"/>
                </a:lnTo>
                <a:lnTo>
                  <a:pt x="24955" y="25466"/>
                </a:lnTo>
                <a:lnTo>
                  <a:pt x="25364" y="25977"/>
                </a:lnTo>
                <a:lnTo>
                  <a:pt x="24750" y="26489"/>
                </a:lnTo>
                <a:lnTo>
                  <a:pt x="24750" y="26489"/>
                </a:lnTo>
                <a:lnTo>
                  <a:pt x="25159" y="26284"/>
                </a:lnTo>
                <a:lnTo>
                  <a:pt x="24545" y="26693"/>
                </a:lnTo>
                <a:lnTo>
                  <a:pt x="24443" y="27000"/>
                </a:lnTo>
                <a:lnTo>
                  <a:pt x="26080" y="25977"/>
                </a:lnTo>
                <a:lnTo>
                  <a:pt x="25670" y="26386"/>
                </a:lnTo>
                <a:lnTo>
                  <a:pt x="25773" y="26795"/>
                </a:lnTo>
                <a:lnTo>
                  <a:pt x="25568" y="26489"/>
                </a:lnTo>
                <a:lnTo>
                  <a:pt x="24852" y="26795"/>
                </a:lnTo>
                <a:lnTo>
                  <a:pt x="24955" y="26795"/>
                </a:lnTo>
                <a:lnTo>
                  <a:pt x="24545" y="27307"/>
                </a:lnTo>
                <a:lnTo>
                  <a:pt x="25466" y="27102"/>
                </a:lnTo>
                <a:lnTo>
                  <a:pt x="24341" y="27614"/>
                </a:lnTo>
                <a:lnTo>
                  <a:pt x="25159" y="27818"/>
                </a:lnTo>
                <a:lnTo>
                  <a:pt x="25057" y="27920"/>
                </a:lnTo>
                <a:lnTo>
                  <a:pt x="25159" y="28023"/>
                </a:lnTo>
                <a:lnTo>
                  <a:pt x="24852" y="28125"/>
                </a:lnTo>
                <a:lnTo>
                  <a:pt x="25364" y="28125"/>
                </a:lnTo>
                <a:lnTo>
                  <a:pt x="24852" y="28227"/>
                </a:lnTo>
                <a:lnTo>
                  <a:pt x="25977" y="28227"/>
                </a:lnTo>
                <a:lnTo>
                  <a:pt x="26284" y="27920"/>
                </a:lnTo>
                <a:lnTo>
                  <a:pt x="25773" y="28841"/>
                </a:lnTo>
                <a:lnTo>
                  <a:pt x="26591" y="28636"/>
                </a:lnTo>
                <a:lnTo>
                  <a:pt x="26489" y="29148"/>
                </a:lnTo>
                <a:lnTo>
                  <a:pt x="26182" y="29352"/>
                </a:lnTo>
                <a:lnTo>
                  <a:pt x="26182" y="29352"/>
                </a:lnTo>
                <a:lnTo>
                  <a:pt x="26795" y="29148"/>
                </a:lnTo>
                <a:lnTo>
                  <a:pt x="26489" y="29455"/>
                </a:lnTo>
                <a:lnTo>
                  <a:pt x="26898" y="29455"/>
                </a:lnTo>
                <a:lnTo>
                  <a:pt x="26489" y="29659"/>
                </a:lnTo>
                <a:lnTo>
                  <a:pt x="26489" y="29864"/>
                </a:lnTo>
                <a:lnTo>
                  <a:pt x="26591" y="30068"/>
                </a:lnTo>
                <a:lnTo>
                  <a:pt x="26693" y="30068"/>
                </a:lnTo>
                <a:lnTo>
                  <a:pt x="26386" y="30375"/>
                </a:lnTo>
                <a:lnTo>
                  <a:pt x="26386" y="30682"/>
                </a:lnTo>
                <a:lnTo>
                  <a:pt x="26489" y="30682"/>
                </a:lnTo>
                <a:lnTo>
                  <a:pt x="26386" y="30784"/>
                </a:lnTo>
                <a:lnTo>
                  <a:pt x="26386" y="30682"/>
                </a:lnTo>
                <a:lnTo>
                  <a:pt x="26080" y="31295"/>
                </a:lnTo>
                <a:lnTo>
                  <a:pt x="25670" y="31500"/>
                </a:lnTo>
                <a:lnTo>
                  <a:pt x="25568" y="31602"/>
                </a:lnTo>
                <a:lnTo>
                  <a:pt x="25568" y="31500"/>
                </a:lnTo>
                <a:lnTo>
                  <a:pt x="25670" y="31500"/>
                </a:lnTo>
                <a:lnTo>
                  <a:pt x="26182" y="30886"/>
                </a:lnTo>
                <a:lnTo>
                  <a:pt x="26182" y="30886"/>
                </a:lnTo>
                <a:lnTo>
                  <a:pt x="25466" y="31398"/>
                </a:lnTo>
                <a:lnTo>
                  <a:pt x="25875" y="30989"/>
                </a:lnTo>
                <a:lnTo>
                  <a:pt x="25875" y="31091"/>
                </a:lnTo>
                <a:lnTo>
                  <a:pt x="26182" y="30682"/>
                </a:lnTo>
                <a:lnTo>
                  <a:pt x="24852" y="30477"/>
                </a:lnTo>
                <a:lnTo>
                  <a:pt x="24341" y="31909"/>
                </a:lnTo>
                <a:lnTo>
                  <a:pt x="24545" y="31909"/>
                </a:lnTo>
                <a:lnTo>
                  <a:pt x="24136" y="32420"/>
                </a:lnTo>
                <a:lnTo>
                  <a:pt x="24136" y="32216"/>
                </a:lnTo>
                <a:lnTo>
                  <a:pt x="23932" y="32523"/>
                </a:lnTo>
                <a:lnTo>
                  <a:pt x="24545" y="32727"/>
                </a:lnTo>
                <a:lnTo>
                  <a:pt x="24034" y="32625"/>
                </a:lnTo>
                <a:lnTo>
                  <a:pt x="21989" y="35489"/>
                </a:lnTo>
                <a:lnTo>
                  <a:pt x="22091" y="35489"/>
                </a:lnTo>
                <a:lnTo>
                  <a:pt x="20557" y="38250"/>
                </a:lnTo>
                <a:lnTo>
                  <a:pt x="20557" y="38148"/>
                </a:lnTo>
                <a:lnTo>
                  <a:pt x="20250" y="38659"/>
                </a:lnTo>
                <a:lnTo>
                  <a:pt x="20348" y="40709"/>
                </a:lnTo>
                <a:lnTo>
                  <a:pt x="20348" y="40709"/>
                </a:lnTo>
                <a:lnTo>
                  <a:pt x="20148" y="40909"/>
                </a:lnTo>
                <a:lnTo>
                  <a:pt x="20455" y="41011"/>
                </a:lnTo>
                <a:lnTo>
                  <a:pt x="20761" y="40807"/>
                </a:lnTo>
                <a:lnTo>
                  <a:pt x="21477" y="40807"/>
                </a:lnTo>
                <a:lnTo>
                  <a:pt x="20761" y="40909"/>
                </a:lnTo>
                <a:lnTo>
                  <a:pt x="20761" y="41420"/>
                </a:lnTo>
                <a:lnTo>
                  <a:pt x="20557" y="41114"/>
                </a:lnTo>
                <a:lnTo>
                  <a:pt x="20352" y="41727"/>
                </a:lnTo>
                <a:lnTo>
                  <a:pt x="20557" y="42341"/>
                </a:lnTo>
                <a:lnTo>
                  <a:pt x="20352" y="42648"/>
                </a:lnTo>
                <a:lnTo>
                  <a:pt x="20864" y="43875"/>
                </a:lnTo>
                <a:lnTo>
                  <a:pt x="20761" y="44284"/>
                </a:lnTo>
                <a:lnTo>
                  <a:pt x="21068" y="44591"/>
                </a:lnTo>
                <a:lnTo>
                  <a:pt x="21477" y="44693"/>
                </a:lnTo>
                <a:lnTo>
                  <a:pt x="23011" y="47250"/>
                </a:lnTo>
                <a:lnTo>
                  <a:pt x="22909" y="47455"/>
                </a:lnTo>
                <a:lnTo>
                  <a:pt x="23216" y="49295"/>
                </a:lnTo>
                <a:lnTo>
                  <a:pt x="23932" y="50114"/>
                </a:lnTo>
                <a:lnTo>
                  <a:pt x="23932" y="51341"/>
                </a:lnTo>
                <a:lnTo>
                  <a:pt x="24034" y="51341"/>
                </a:lnTo>
                <a:lnTo>
                  <a:pt x="24034" y="51545"/>
                </a:lnTo>
                <a:lnTo>
                  <a:pt x="23830" y="51341"/>
                </a:lnTo>
                <a:lnTo>
                  <a:pt x="23216" y="51443"/>
                </a:lnTo>
                <a:lnTo>
                  <a:pt x="23830" y="52159"/>
                </a:lnTo>
                <a:lnTo>
                  <a:pt x="24648" y="52364"/>
                </a:lnTo>
                <a:lnTo>
                  <a:pt x="25261" y="54818"/>
                </a:lnTo>
                <a:lnTo>
                  <a:pt x="26795" y="56455"/>
                </a:lnTo>
                <a:lnTo>
                  <a:pt x="26898" y="55432"/>
                </a:lnTo>
                <a:lnTo>
                  <a:pt x="26386" y="55227"/>
                </a:lnTo>
                <a:lnTo>
                  <a:pt x="25773" y="52364"/>
                </a:lnTo>
                <a:lnTo>
                  <a:pt x="25773" y="52670"/>
                </a:lnTo>
                <a:lnTo>
                  <a:pt x="25261" y="50830"/>
                </a:lnTo>
                <a:lnTo>
                  <a:pt x="25057" y="50727"/>
                </a:lnTo>
                <a:lnTo>
                  <a:pt x="24341" y="48068"/>
                </a:lnTo>
                <a:lnTo>
                  <a:pt x="24545" y="47250"/>
                </a:lnTo>
                <a:lnTo>
                  <a:pt x="25159" y="47659"/>
                </a:lnTo>
                <a:lnTo>
                  <a:pt x="25364" y="47557"/>
                </a:lnTo>
                <a:lnTo>
                  <a:pt x="25466" y="47761"/>
                </a:lnTo>
                <a:lnTo>
                  <a:pt x="25875" y="47966"/>
                </a:lnTo>
                <a:lnTo>
                  <a:pt x="26591" y="51034"/>
                </a:lnTo>
                <a:lnTo>
                  <a:pt x="27205" y="51341"/>
                </a:lnTo>
                <a:lnTo>
                  <a:pt x="27000" y="51852"/>
                </a:lnTo>
                <a:lnTo>
                  <a:pt x="28023" y="53080"/>
                </a:lnTo>
                <a:lnTo>
                  <a:pt x="27920" y="52977"/>
                </a:lnTo>
                <a:lnTo>
                  <a:pt x="28125" y="53591"/>
                </a:lnTo>
                <a:lnTo>
                  <a:pt x="27920" y="53795"/>
                </a:lnTo>
                <a:lnTo>
                  <a:pt x="28636" y="54307"/>
                </a:lnTo>
                <a:lnTo>
                  <a:pt x="28432" y="54205"/>
                </a:lnTo>
                <a:lnTo>
                  <a:pt x="29045" y="54920"/>
                </a:lnTo>
                <a:lnTo>
                  <a:pt x="28841" y="54920"/>
                </a:lnTo>
                <a:lnTo>
                  <a:pt x="29761" y="56148"/>
                </a:lnTo>
                <a:lnTo>
                  <a:pt x="30477" y="58091"/>
                </a:lnTo>
                <a:lnTo>
                  <a:pt x="29966" y="59216"/>
                </a:lnTo>
                <a:lnTo>
                  <a:pt x="37534" y="63920"/>
                </a:lnTo>
                <a:lnTo>
                  <a:pt x="39068" y="63307"/>
                </a:lnTo>
                <a:lnTo>
                  <a:pt x="39170" y="63307"/>
                </a:lnTo>
                <a:lnTo>
                  <a:pt x="39784" y="63614"/>
                </a:lnTo>
                <a:lnTo>
                  <a:pt x="39784" y="63614"/>
                </a:lnTo>
                <a:lnTo>
                  <a:pt x="39375" y="63307"/>
                </a:lnTo>
                <a:lnTo>
                  <a:pt x="39375" y="63307"/>
                </a:lnTo>
                <a:lnTo>
                  <a:pt x="44284" y="66375"/>
                </a:lnTo>
                <a:lnTo>
                  <a:pt x="45000" y="66273"/>
                </a:lnTo>
                <a:lnTo>
                  <a:pt x="45409" y="66682"/>
                </a:lnTo>
                <a:lnTo>
                  <a:pt x="45307" y="66989"/>
                </a:lnTo>
                <a:lnTo>
                  <a:pt x="46534" y="68830"/>
                </a:lnTo>
                <a:lnTo>
                  <a:pt x="46534" y="69443"/>
                </a:lnTo>
                <a:lnTo>
                  <a:pt x="47148" y="70159"/>
                </a:lnTo>
                <a:lnTo>
                  <a:pt x="47352" y="69852"/>
                </a:lnTo>
                <a:lnTo>
                  <a:pt x="47045" y="69443"/>
                </a:lnTo>
                <a:lnTo>
                  <a:pt x="47045" y="69443"/>
                </a:lnTo>
                <a:lnTo>
                  <a:pt x="48784" y="71386"/>
                </a:lnTo>
                <a:lnTo>
                  <a:pt x="48784" y="71386"/>
                </a:lnTo>
                <a:lnTo>
                  <a:pt x="48580" y="71080"/>
                </a:lnTo>
                <a:lnTo>
                  <a:pt x="49091" y="71693"/>
                </a:lnTo>
                <a:lnTo>
                  <a:pt x="49705" y="71489"/>
                </a:lnTo>
                <a:lnTo>
                  <a:pt x="50625" y="72205"/>
                </a:lnTo>
                <a:lnTo>
                  <a:pt x="50727" y="71898"/>
                </a:lnTo>
                <a:lnTo>
                  <a:pt x="51136" y="72614"/>
                </a:lnTo>
                <a:lnTo>
                  <a:pt x="51648" y="72307"/>
                </a:lnTo>
                <a:lnTo>
                  <a:pt x="51341" y="71693"/>
                </a:lnTo>
                <a:lnTo>
                  <a:pt x="52670" y="70773"/>
                </a:lnTo>
                <a:lnTo>
                  <a:pt x="53182" y="71489"/>
                </a:lnTo>
                <a:lnTo>
                  <a:pt x="53182" y="71284"/>
                </a:lnTo>
                <a:lnTo>
                  <a:pt x="53386" y="71386"/>
                </a:lnTo>
                <a:lnTo>
                  <a:pt x="53489" y="71284"/>
                </a:lnTo>
                <a:lnTo>
                  <a:pt x="53693" y="71693"/>
                </a:lnTo>
                <a:lnTo>
                  <a:pt x="53386" y="71386"/>
                </a:lnTo>
                <a:lnTo>
                  <a:pt x="53182" y="71795"/>
                </a:lnTo>
                <a:lnTo>
                  <a:pt x="53795" y="75682"/>
                </a:lnTo>
                <a:lnTo>
                  <a:pt x="53898" y="75682"/>
                </a:lnTo>
                <a:lnTo>
                  <a:pt x="53898" y="75989"/>
                </a:lnTo>
                <a:lnTo>
                  <a:pt x="54000" y="75886"/>
                </a:lnTo>
                <a:lnTo>
                  <a:pt x="54205" y="75989"/>
                </a:lnTo>
                <a:lnTo>
                  <a:pt x="53489" y="77216"/>
                </a:lnTo>
                <a:lnTo>
                  <a:pt x="52977" y="77523"/>
                </a:lnTo>
                <a:lnTo>
                  <a:pt x="52773" y="78239"/>
                </a:lnTo>
                <a:lnTo>
                  <a:pt x="52364" y="78341"/>
                </a:lnTo>
                <a:lnTo>
                  <a:pt x="52568" y="78750"/>
                </a:lnTo>
                <a:lnTo>
                  <a:pt x="51648" y="79159"/>
                </a:lnTo>
                <a:lnTo>
                  <a:pt x="51239" y="80693"/>
                </a:lnTo>
                <a:lnTo>
                  <a:pt x="51034" y="80591"/>
                </a:lnTo>
                <a:lnTo>
                  <a:pt x="50727" y="81307"/>
                </a:lnTo>
                <a:lnTo>
                  <a:pt x="50727" y="82227"/>
                </a:lnTo>
                <a:lnTo>
                  <a:pt x="51034" y="82739"/>
                </a:lnTo>
                <a:lnTo>
                  <a:pt x="51545" y="82432"/>
                </a:lnTo>
                <a:lnTo>
                  <a:pt x="51648" y="82125"/>
                </a:lnTo>
                <a:lnTo>
                  <a:pt x="51750" y="82841"/>
                </a:lnTo>
                <a:lnTo>
                  <a:pt x="50318" y="84886"/>
                </a:lnTo>
                <a:lnTo>
                  <a:pt x="50830" y="85909"/>
                </a:lnTo>
                <a:lnTo>
                  <a:pt x="50625" y="86011"/>
                </a:lnTo>
                <a:lnTo>
                  <a:pt x="60852" y="98693"/>
                </a:lnTo>
                <a:lnTo>
                  <a:pt x="61977" y="118125"/>
                </a:lnTo>
                <a:lnTo>
                  <a:pt x="61670" y="118330"/>
                </a:lnTo>
                <a:lnTo>
                  <a:pt x="63102" y="122932"/>
                </a:lnTo>
                <a:lnTo>
                  <a:pt x="64125" y="122625"/>
                </a:lnTo>
                <a:lnTo>
                  <a:pt x="63818" y="123136"/>
                </a:lnTo>
                <a:lnTo>
                  <a:pt x="64125" y="123136"/>
                </a:lnTo>
                <a:lnTo>
                  <a:pt x="64330" y="123648"/>
                </a:lnTo>
                <a:lnTo>
                  <a:pt x="64023" y="123648"/>
                </a:lnTo>
                <a:lnTo>
                  <a:pt x="64227" y="125284"/>
                </a:lnTo>
                <a:lnTo>
                  <a:pt x="64636" y="125489"/>
                </a:lnTo>
                <a:lnTo>
                  <a:pt x="64534" y="126511"/>
                </a:lnTo>
                <a:lnTo>
                  <a:pt x="64943" y="126716"/>
                </a:lnTo>
                <a:lnTo>
                  <a:pt x="64330" y="126716"/>
                </a:lnTo>
                <a:lnTo>
                  <a:pt x="64636" y="127432"/>
                </a:lnTo>
                <a:lnTo>
                  <a:pt x="64534" y="127739"/>
                </a:lnTo>
                <a:lnTo>
                  <a:pt x="64330" y="127023"/>
                </a:lnTo>
                <a:lnTo>
                  <a:pt x="64023" y="127432"/>
                </a:lnTo>
                <a:lnTo>
                  <a:pt x="64023" y="127432"/>
                </a:lnTo>
                <a:lnTo>
                  <a:pt x="64227" y="127023"/>
                </a:lnTo>
                <a:lnTo>
                  <a:pt x="64023" y="126614"/>
                </a:lnTo>
                <a:lnTo>
                  <a:pt x="64023" y="127023"/>
                </a:lnTo>
                <a:lnTo>
                  <a:pt x="63409" y="127125"/>
                </a:lnTo>
                <a:lnTo>
                  <a:pt x="63614" y="127432"/>
                </a:lnTo>
                <a:lnTo>
                  <a:pt x="63205" y="127943"/>
                </a:lnTo>
                <a:lnTo>
                  <a:pt x="63205" y="127943"/>
                </a:lnTo>
                <a:lnTo>
                  <a:pt x="63716" y="127739"/>
                </a:lnTo>
                <a:lnTo>
                  <a:pt x="64227" y="128148"/>
                </a:lnTo>
                <a:lnTo>
                  <a:pt x="64227" y="128045"/>
                </a:lnTo>
                <a:lnTo>
                  <a:pt x="64534" y="128250"/>
                </a:lnTo>
                <a:lnTo>
                  <a:pt x="64534" y="128455"/>
                </a:lnTo>
                <a:lnTo>
                  <a:pt x="64432" y="128659"/>
                </a:lnTo>
                <a:lnTo>
                  <a:pt x="64636" y="129068"/>
                </a:lnTo>
                <a:lnTo>
                  <a:pt x="65148" y="128864"/>
                </a:lnTo>
                <a:lnTo>
                  <a:pt x="65557" y="129477"/>
                </a:lnTo>
                <a:lnTo>
                  <a:pt x="64534" y="129273"/>
                </a:lnTo>
                <a:lnTo>
                  <a:pt x="65148" y="129682"/>
                </a:lnTo>
                <a:lnTo>
                  <a:pt x="65455" y="130705"/>
                </a:lnTo>
                <a:lnTo>
                  <a:pt x="65352" y="130295"/>
                </a:lnTo>
                <a:lnTo>
                  <a:pt x="65455" y="130295"/>
                </a:lnTo>
                <a:lnTo>
                  <a:pt x="65864" y="131216"/>
                </a:lnTo>
                <a:lnTo>
                  <a:pt x="65352" y="131420"/>
                </a:lnTo>
                <a:lnTo>
                  <a:pt x="66068" y="131727"/>
                </a:lnTo>
                <a:lnTo>
                  <a:pt x="65864" y="131727"/>
                </a:lnTo>
                <a:lnTo>
                  <a:pt x="66170" y="132034"/>
                </a:lnTo>
                <a:lnTo>
                  <a:pt x="66273" y="131727"/>
                </a:lnTo>
                <a:lnTo>
                  <a:pt x="66375" y="131932"/>
                </a:lnTo>
                <a:lnTo>
                  <a:pt x="66375" y="132239"/>
                </a:lnTo>
                <a:lnTo>
                  <a:pt x="66170" y="132034"/>
                </a:lnTo>
                <a:lnTo>
                  <a:pt x="65557" y="131625"/>
                </a:lnTo>
                <a:lnTo>
                  <a:pt x="65250" y="131932"/>
                </a:lnTo>
                <a:lnTo>
                  <a:pt x="67193" y="133261"/>
                </a:lnTo>
                <a:lnTo>
                  <a:pt x="67398" y="133159"/>
                </a:lnTo>
                <a:lnTo>
                  <a:pt x="67091" y="132750"/>
                </a:lnTo>
                <a:lnTo>
                  <a:pt x="67705" y="133057"/>
                </a:lnTo>
                <a:lnTo>
                  <a:pt x="67398" y="133159"/>
                </a:lnTo>
                <a:lnTo>
                  <a:pt x="67500" y="133261"/>
                </a:lnTo>
                <a:lnTo>
                  <a:pt x="67602" y="133159"/>
                </a:lnTo>
                <a:lnTo>
                  <a:pt x="67807" y="133568"/>
                </a:lnTo>
                <a:lnTo>
                  <a:pt x="67807" y="133568"/>
                </a:lnTo>
                <a:lnTo>
                  <a:pt x="67500" y="133261"/>
                </a:lnTo>
                <a:lnTo>
                  <a:pt x="67295" y="133364"/>
                </a:lnTo>
                <a:lnTo>
                  <a:pt x="66477" y="133364"/>
                </a:lnTo>
                <a:lnTo>
                  <a:pt x="66886" y="133773"/>
                </a:lnTo>
                <a:lnTo>
                  <a:pt x="67500" y="133670"/>
                </a:lnTo>
                <a:lnTo>
                  <a:pt x="67295" y="134080"/>
                </a:lnTo>
                <a:lnTo>
                  <a:pt x="67705" y="134284"/>
                </a:lnTo>
                <a:lnTo>
                  <a:pt x="67807" y="134080"/>
                </a:lnTo>
                <a:lnTo>
                  <a:pt x="67926" y="134000"/>
                </a:lnTo>
                <a:lnTo>
                  <a:pt x="67926" y="134000"/>
                </a:lnTo>
                <a:lnTo>
                  <a:pt x="68420" y="134693"/>
                </a:lnTo>
                <a:lnTo>
                  <a:pt x="69136" y="133977"/>
                </a:lnTo>
                <a:lnTo>
                  <a:pt x="69136" y="134284"/>
                </a:lnTo>
                <a:lnTo>
                  <a:pt x="68932" y="134489"/>
                </a:lnTo>
                <a:lnTo>
                  <a:pt x="68932" y="134693"/>
                </a:lnTo>
                <a:lnTo>
                  <a:pt x="68727" y="134795"/>
                </a:lnTo>
                <a:lnTo>
                  <a:pt x="69750" y="134795"/>
                </a:lnTo>
                <a:lnTo>
                  <a:pt x="69545" y="134182"/>
                </a:lnTo>
                <a:lnTo>
                  <a:pt x="69767" y="133988"/>
                </a:lnTo>
                <a:lnTo>
                  <a:pt x="69767" y="133988"/>
                </a:lnTo>
                <a:lnTo>
                  <a:pt x="70057" y="134182"/>
                </a:lnTo>
                <a:lnTo>
                  <a:pt x="69852" y="134284"/>
                </a:lnTo>
                <a:lnTo>
                  <a:pt x="70568" y="134591"/>
                </a:lnTo>
                <a:lnTo>
                  <a:pt x="70364" y="135000"/>
                </a:lnTo>
                <a:lnTo>
                  <a:pt x="71489" y="135614"/>
                </a:lnTo>
                <a:lnTo>
                  <a:pt x="71386" y="135716"/>
                </a:lnTo>
                <a:lnTo>
                  <a:pt x="70159" y="135205"/>
                </a:lnTo>
                <a:lnTo>
                  <a:pt x="70364" y="135205"/>
                </a:lnTo>
                <a:lnTo>
                  <a:pt x="70057" y="135000"/>
                </a:lnTo>
                <a:lnTo>
                  <a:pt x="69955" y="135102"/>
                </a:lnTo>
                <a:lnTo>
                  <a:pt x="70568" y="135716"/>
                </a:lnTo>
                <a:lnTo>
                  <a:pt x="70057" y="135511"/>
                </a:lnTo>
                <a:lnTo>
                  <a:pt x="69443" y="135716"/>
                </a:lnTo>
                <a:lnTo>
                  <a:pt x="69545" y="135818"/>
                </a:lnTo>
                <a:lnTo>
                  <a:pt x="73943" y="136125"/>
                </a:lnTo>
                <a:lnTo>
                  <a:pt x="74557" y="135818"/>
                </a:lnTo>
                <a:lnTo>
                  <a:pt x="71489" y="134489"/>
                </a:lnTo>
                <a:lnTo>
                  <a:pt x="71591" y="134284"/>
                </a:lnTo>
                <a:lnTo>
                  <a:pt x="71080" y="133875"/>
                </a:lnTo>
                <a:lnTo>
                  <a:pt x="69782" y="133975"/>
                </a:lnTo>
                <a:lnTo>
                  <a:pt x="69782" y="133975"/>
                </a:lnTo>
                <a:lnTo>
                  <a:pt x="70364" y="133466"/>
                </a:lnTo>
                <a:lnTo>
                  <a:pt x="71080" y="133568"/>
                </a:lnTo>
                <a:lnTo>
                  <a:pt x="71080" y="133568"/>
                </a:lnTo>
                <a:lnTo>
                  <a:pt x="70057" y="132852"/>
                </a:lnTo>
                <a:lnTo>
                  <a:pt x="70364" y="132750"/>
                </a:lnTo>
                <a:lnTo>
                  <a:pt x="69852" y="132341"/>
                </a:lnTo>
                <a:lnTo>
                  <a:pt x="70159" y="131318"/>
                </a:lnTo>
                <a:lnTo>
                  <a:pt x="69750" y="131216"/>
                </a:lnTo>
                <a:lnTo>
                  <a:pt x="69955" y="131216"/>
                </a:lnTo>
                <a:lnTo>
                  <a:pt x="69955" y="131011"/>
                </a:lnTo>
                <a:lnTo>
                  <a:pt x="70670" y="131216"/>
                </a:lnTo>
                <a:lnTo>
                  <a:pt x="70670" y="131216"/>
                </a:lnTo>
                <a:lnTo>
                  <a:pt x="70466" y="130500"/>
                </a:lnTo>
                <a:lnTo>
                  <a:pt x="71591" y="129170"/>
                </a:lnTo>
                <a:lnTo>
                  <a:pt x="71182" y="129068"/>
                </a:lnTo>
                <a:lnTo>
                  <a:pt x="71284" y="128455"/>
                </a:lnTo>
                <a:lnTo>
                  <a:pt x="69443" y="127330"/>
                </a:lnTo>
                <a:lnTo>
                  <a:pt x="69852" y="126409"/>
                </a:lnTo>
                <a:lnTo>
                  <a:pt x="70159" y="126205"/>
                </a:lnTo>
                <a:lnTo>
                  <a:pt x="70670" y="126205"/>
                </a:lnTo>
                <a:lnTo>
                  <a:pt x="70568" y="124670"/>
                </a:lnTo>
                <a:lnTo>
                  <a:pt x="71182" y="124159"/>
                </a:lnTo>
                <a:lnTo>
                  <a:pt x="70568" y="123852"/>
                </a:lnTo>
                <a:lnTo>
                  <a:pt x="70977" y="123750"/>
                </a:lnTo>
                <a:lnTo>
                  <a:pt x="71284" y="124057"/>
                </a:lnTo>
                <a:lnTo>
                  <a:pt x="71284" y="124057"/>
                </a:lnTo>
                <a:lnTo>
                  <a:pt x="70977" y="123443"/>
                </a:lnTo>
                <a:lnTo>
                  <a:pt x="70773" y="123545"/>
                </a:lnTo>
                <a:lnTo>
                  <a:pt x="70364" y="123239"/>
                </a:lnTo>
                <a:lnTo>
                  <a:pt x="69955" y="122318"/>
                </a:lnTo>
                <a:lnTo>
                  <a:pt x="70057" y="122011"/>
                </a:lnTo>
                <a:lnTo>
                  <a:pt x="71182" y="122318"/>
                </a:lnTo>
                <a:lnTo>
                  <a:pt x="72205" y="122011"/>
                </a:lnTo>
                <a:lnTo>
                  <a:pt x="72000" y="121193"/>
                </a:lnTo>
                <a:lnTo>
                  <a:pt x="72102" y="120886"/>
                </a:lnTo>
                <a:lnTo>
                  <a:pt x="71898" y="120580"/>
                </a:lnTo>
                <a:lnTo>
                  <a:pt x="72000" y="120580"/>
                </a:lnTo>
                <a:lnTo>
                  <a:pt x="71693" y="120170"/>
                </a:lnTo>
                <a:lnTo>
                  <a:pt x="75477" y="119250"/>
                </a:lnTo>
                <a:lnTo>
                  <a:pt x="75886" y="117716"/>
                </a:lnTo>
                <a:lnTo>
                  <a:pt x="73739" y="114545"/>
                </a:lnTo>
                <a:lnTo>
                  <a:pt x="73739" y="114034"/>
                </a:lnTo>
                <a:lnTo>
                  <a:pt x="73943" y="114034"/>
                </a:lnTo>
                <a:lnTo>
                  <a:pt x="73841" y="113420"/>
                </a:lnTo>
                <a:lnTo>
                  <a:pt x="74045" y="113932"/>
                </a:lnTo>
                <a:lnTo>
                  <a:pt x="73841" y="114341"/>
                </a:lnTo>
                <a:lnTo>
                  <a:pt x="74557" y="115466"/>
                </a:lnTo>
                <a:lnTo>
                  <a:pt x="77216" y="115875"/>
                </a:lnTo>
                <a:lnTo>
                  <a:pt x="79466" y="111580"/>
                </a:lnTo>
                <a:lnTo>
                  <a:pt x="79568" y="111682"/>
                </a:lnTo>
                <a:lnTo>
                  <a:pt x="79568" y="111273"/>
                </a:lnTo>
                <a:lnTo>
                  <a:pt x="79466" y="110966"/>
                </a:lnTo>
                <a:lnTo>
                  <a:pt x="79773" y="111273"/>
                </a:lnTo>
                <a:lnTo>
                  <a:pt x="79875" y="111273"/>
                </a:lnTo>
                <a:lnTo>
                  <a:pt x="79364" y="112500"/>
                </a:lnTo>
                <a:lnTo>
                  <a:pt x="79773" y="112193"/>
                </a:lnTo>
                <a:lnTo>
                  <a:pt x="80080" y="111170"/>
                </a:lnTo>
                <a:lnTo>
                  <a:pt x="79875" y="111273"/>
                </a:lnTo>
                <a:lnTo>
                  <a:pt x="79875" y="111273"/>
                </a:lnTo>
                <a:lnTo>
                  <a:pt x="81409" y="107898"/>
                </a:lnTo>
                <a:lnTo>
                  <a:pt x="81102" y="106159"/>
                </a:lnTo>
                <a:lnTo>
                  <a:pt x="81614" y="106057"/>
                </a:lnTo>
                <a:lnTo>
                  <a:pt x="81511" y="106159"/>
                </a:lnTo>
                <a:lnTo>
                  <a:pt x="85398" y="103705"/>
                </a:lnTo>
                <a:lnTo>
                  <a:pt x="85807" y="103602"/>
                </a:lnTo>
                <a:lnTo>
                  <a:pt x="85909" y="103398"/>
                </a:lnTo>
                <a:lnTo>
                  <a:pt x="86114" y="103705"/>
                </a:lnTo>
                <a:lnTo>
                  <a:pt x="86830" y="103602"/>
                </a:lnTo>
                <a:lnTo>
                  <a:pt x="86932" y="103091"/>
                </a:lnTo>
                <a:lnTo>
                  <a:pt x="87750" y="102580"/>
                </a:lnTo>
                <a:lnTo>
                  <a:pt x="89080" y="94398"/>
                </a:lnTo>
                <a:lnTo>
                  <a:pt x="89080" y="93170"/>
                </a:lnTo>
                <a:lnTo>
                  <a:pt x="89284" y="93068"/>
                </a:lnTo>
                <a:lnTo>
                  <a:pt x="89489" y="93375"/>
                </a:lnTo>
                <a:lnTo>
                  <a:pt x="90409" y="91534"/>
                </a:lnTo>
                <a:lnTo>
                  <a:pt x="90409" y="91739"/>
                </a:lnTo>
                <a:lnTo>
                  <a:pt x="92557" y="87136"/>
                </a:lnTo>
                <a:lnTo>
                  <a:pt x="91943" y="85398"/>
                </a:lnTo>
                <a:lnTo>
                  <a:pt x="84273" y="82739"/>
                </a:lnTo>
                <a:lnTo>
                  <a:pt x="84068" y="82943"/>
                </a:lnTo>
                <a:lnTo>
                  <a:pt x="83966" y="82534"/>
                </a:lnTo>
                <a:lnTo>
                  <a:pt x="83557" y="83352"/>
                </a:lnTo>
                <a:lnTo>
                  <a:pt x="83557" y="83352"/>
                </a:lnTo>
                <a:lnTo>
                  <a:pt x="83659" y="82636"/>
                </a:lnTo>
                <a:lnTo>
                  <a:pt x="83557" y="82330"/>
                </a:lnTo>
                <a:lnTo>
                  <a:pt x="83557" y="81818"/>
                </a:lnTo>
                <a:lnTo>
                  <a:pt x="80591" y="80795"/>
                </a:lnTo>
                <a:lnTo>
                  <a:pt x="79057" y="82739"/>
                </a:lnTo>
                <a:lnTo>
                  <a:pt x="79364" y="81818"/>
                </a:lnTo>
                <a:lnTo>
                  <a:pt x="78341" y="82125"/>
                </a:lnTo>
                <a:lnTo>
                  <a:pt x="77932" y="81307"/>
                </a:lnTo>
                <a:lnTo>
                  <a:pt x="77625" y="81205"/>
                </a:lnTo>
                <a:lnTo>
                  <a:pt x="77011" y="81614"/>
                </a:lnTo>
                <a:lnTo>
                  <a:pt x="76295" y="81614"/>
                </a:lnTo>
                <a:lnTo>
                  <a:pt x="78852" y="78750"/>
                </a:lnTo>
                <a:lnTo>
                  <a:pt x="77216" y="75375"/>
                </a:lnTo>
                <a:lnTo>
                  <a:pt x="77011" y="75580"/>
                </a:lnTo>
                <a:lnTo>
                  <a:pt x="76807" y="75068"/>
                </a:lnTo>
                <a:lnTo>
                  <a:pt x="76705" y="75170"/>
                </a:lnTo>
                <a:lnTo>
                  <a:pt x="75273" y="74148"/>
                </a:lnTo>
                <a:lnTo>
                  <a:pt x="75068" y="74557"/>
                </a:lnTo>
                <a:lnTo>
                  <a:pt x="74455" y="73841"/>
                </a:lnTo>
                <a:lnTo>
                  <a:pt x="73432" y="74148"/>
                </a:lnTo>
                <a:lnTo>
                  <a:pt x="72614" y="73943"/>
                </a:lnTo>
                <a:lnTo>
                  <a:pt x="72307" y="74352"/>
                </a:lnTo>
                <a:lnTo>
                  <a:pt x="72307" y="73739"/>
                </a:lnTo>
                <a:lnTo>
                  <a:pt x="71284" y="72920"/>
                </a:lnTo>
                <a:lnTo>
                  <a:pt x="70977" y="73432"/>
                </a:lnTo>
                <a:lnTo>
                  <a:pt x="70977" y="73432"/>
                </a:lnTo>
                <a:lnTo>
                  <a:pt x="71080" y="72307"/>
                </a:lnTo>
                <a:lnTo>
                  <a:pt x="69852" y="71284"/>
                </a:lnTo>
                <a:lnTo>
                  <a:pt x="68420" y="71182"/>
                </a:lnTo>
                <a:lnTo>
                  <a:pt x="68830" y="70875"/>
                </a:lnTo>
                <a:lnTo>
                  <a:pt x="69034" y="70568"/>
                </a:lnTo>
                <a:lnTo>
                  <a:pt x="68932" y="70159"/>
                </a:lnTo>
                <a:lnTo>
                  <a:pt x="68420" y="69852"/>
                </a:lnTo>
                <a:lnTo>
                  <a:pt x="68318" y="69955"/>
                </a:lnTo>
                <a:lnTo>
                  <a:pt x="68318" y="70159"/>
                </a:lnTo>
                <a:lnTo>
                  <a:pt x="67909" y="69852"/>
                </a:lnTo>
                <a:lnTo>
                  <a:pt x="67807" y="69955"/>
                </a:lnTo>
                <a:lnTo>
                  <a:pt x="67602" y="69545"/>
                </a:lnTo>
                <a:lnTo>
                  <a:pt x="67398" y="69648"/>
                </a:lnTo>
                <a:lnTo>
                  <a:pt x="67295" y="69239"/>
                </a:lnTo>
                <a:lnTo>
                  <a:pt x="68216" y="69034"/>
                </a:lnTo>
                <a:lnTo>
                  <a:pt x="66068" y="69136"/>
                </a:lnTo>
                <a:lnTo>
                  <a:pt x="66068" y="69239"/>
                </a:lnTo>
                <a:lnTo>
                  <a:pt x="66580" y="69239"/>
                </a:lnTo>
                <a:lnTo>
                  <a:pt x="65045" y="69648"/>
                </a:lnTo>
                <a:lnTo>
                  <a:pt x="64636" y="69443"/>
                </a:lnTo>
                <a:lnTo>
                  <a:pt x="64432" y="69136"/>
                </a:lnTo>
                <a:lnTo>
                  <a:pt x="62489" y="69136"/>
                </a:lnTo>
                <a:lnTo>
                  <a:pt x="62284" y="68523"/>
                </a:lnTo>
                <a:lnTo>
                  <a:pt x="61466" y="68216"/>
                </a:lnTo>
                <a:lnTo>
                  <a:pt x="61159" y="67705"/>
                </a:lnTo>
                <a:lnTo>
                  <a:pt x="60750" y="67705"/>
                </a:lnTo>
                <a:lnTo>
                  <a:pt x="61159" y="68114"/>
                </a:lnTo>
                <a:lnTo>
                  <a:pt x="59727" y="68727"/>
                </a:lnTo>
                <a:lnTo>
                  <a:pt x="59523" y="69239"/>
                </a:lnTo>
                <a:lnTo>
                  <a:pt x="59932" y="70057"/>
                </a:lnTo>
                <a:lnTo>
                  <a:pt x="59625" y="70670"/>
                </a:lnTo>
                <a:lnTo>
                  <a:pt x="59216" y="70364"/>
                </a:lnTo>
                <a:lnTo>
                  <a:pt x="59114" y="69648"/>
                </a:lnTo>
                <a:lnTo>
                  <a:pt x="59420" y="69239"/>
                </a:lnTo>
                <a:lnTo>
                  <a:pt x="59318" y="68727"/>
                </a:lnTo>
                <a:lnTo>
                  <a:pt x="59420" y="68727"/>
                </a:lnTo>
                <a:lnTo>
                  <a:pt x="59216" y="68114"/>
                </a:lnTo>
                <a:lnTo>
                  <a:pt x="59830" y="67807"/>
                </a:lnTo>
                <a:lnTo>
                  <a:pt x="59625" y="67295"/>
                </a:lnTo>
                <a:lnTo>
                  <a:pt x="56966" y="68932"/>
                </a:lnTo>
                <a:lnTo>
                  <a:pt x="56966" y="68727"/>
                </a:lnTo>
                <a:lnTo>
                  <a:pt x="56557" y="68625"/>
                </a:lnTo>
                <a:lnTo>
                  <a:pt x="55739" y="69648"/>
                </a:lnTo>
                <a:lnTo>
                  <a:pt x="55841" y="69545"/>
                </a:lnTo>
                <a:lnTo>
                  <a:pt x="55534" y="70364"/>
                </a:lnTo>
                <a:lnTo>
                  <a:pt x="54614" y="71182"/>
                </a:lnTo>
                <a:lnTo>
                  <a:pt x="54511" y="71898"/>
                </a:lnTo>
                <a:lnTo>
                  <a:pt x="52977" y="70364"/>
                </a:lnTo>
                <a:lnTo>
                  <a:pt x="52057" y="70261"/>
                </a:lnTo>
                <a:lnTo>
                  <a:pt x="51034" y="70875"/>
                </a:lnTo>
                <a:lnTo>
                  <a:pt x="50011" y="70670"/>
                </a:lnTo>
                <a:lnTo>
                  <a:pt x="50011" y="70670"/>
                </a:lnTo>
                <a:lnTo>
                  <a:pt x="50114" y="70875"/>
                </a:lnTo>
                <a:lnTo>
                  <a:pt x="48375" y="68420"/>
                </a:lnTo>
                <a:lnTo>
                  <a:pt x="48580" y="67602"/>
                </a:lnTo>
                <a:lnTo>
                  <a:pt x="48682" y="67705"/>
                </a:lnTo>
                <a:lnTo>
                  <a:pt x="48784" y="66989"/>
                </a:lnTo>
                <a:lnTo>
                  <a:pt x="48784" y="67193"/>
                </a:lnTo>
                <a:lnTo>
                  <a:pt x="49193" y="64739"/>
                </a:lnTo>
                <a:lnTo>
                  <a:pt x="48989" y="64330"/>
                </a:lnTo>
                <a:lnTo>
                  <a:pt x="48580" y="64125"/>
                </a:lnTo>
                <a:lnTo>
                  <a:pt x="48886" y="64227"/>
                </a:lnTo>
                <a:lnTo>
                  <a:pt x="48273" y="63716"/>
                </a:lnTo>
                <a:lnTo>
                  <a:pt x="44284" y="63614"/>
                </a:lnTo>
                <a:lnTo>
                  <a:pt x="45000" y="62795"/>
                </a:lnTo>
                <a:lnTo>
                  <a:pt x="45102" y="61159"/>
                </a:lnTo>
                <a:lnTo>
                  <a:pt x="45409" y="60648"/>
                </a:lnTo>
                <a:lnTo>
                  <a:pt x="45511" y="61261"/>
                </a:lnTo>
                <a:lnTo>
                  <a:pt x="46023" y="60136"/>
                </a:lnTo>
                <a:lnTo>
                  <a:pt x="45818" y="60239"/>
                </a:lnTo>
                <a:lnTo>
                  <a:pt x="46125" y="59932"/>
                </a:lnTo>
                <a:lnTo>
                  <a:pt x="46125" y="59625"/>
                </a:lnTo>
                <a:lnTo>
                  <a:pt x="46534" y="58807"/>
                </a:lnTo>
                <a:lnTo>
                  <a:pt x="46432" y="57989"/>
                </a:lnTo>
                <a:lnTo>
                  <a:pt x="43875" y="58295"/>
                </a:lnTo>
                <a:lnTo>
                  <a:pt x="42955" y="60239"/>
                </a:lnTo>
                <a:lnTo>
                  <a:pt x="42341" y="60648"/>
                </a:lnTo>
                <a:lnTo>
                  <a:pt x="42545" y="60648"/>
                </a:lnTo>
                <a:lnTo>
                  <a:pt x="42443" y="60955"/>
                </a:lnTo>
                <a:lnTo>
                  <a:pt x="39477" y="61261"/>
                </a:lnTo>
                <a:lnTo>
                  <a:pt x="38557" y="60750"/>
                </a:lnTo>
                <a:lnTo>
                  <a:pt x="38557" y="60750"/>
                </a:lnTo>
                <a:lnTo>
                  <a:pt x="38659" y="60852"/>
                </a:lnTo>
                <a:lnTo>
                  <a:pt x="38659" y="60852"/>
                </a:lnTo>
                <a:lnTo>
                  <a:pt x="38352" y="60648"/>
                </a:lnTo>
                <a:lnTo>
                  <a:pt x="38352" y="60648"/>
                </a:lnTo>
                <a:lnTo>
                  <a:pt x="38557" y="60750"/>
                </a:lnTo>
                <a:lnTo>
                  <a:pt x="37432" y="57989"/>
                </a:lnTo>
                <a:lnTo>
                  <a:pt x="37432" y="58193"/>
                </a:lnTo>
                <a:lnTo>
                  <a:pt x="37227" y="57375"/>
                </a:lnTo>
                <a:lnTo>
                  <a:pt x="37432" y="57989"/>
                </a:lnTo>
                <a:lnTo>
                  <a:pt x="38455" y="52159"/>
                </a:lnTo>
                <a:lnTo>
                  <a:pt x="38250" y="51750"/>
                </a:lnTo>
                <a:lnTo>
                  <a:pt x="38761" y="51545"/>
                </a:lnTo>
                <a:lnTo>
                  <a:pt x="38761" y="51341"/>
                </a:lnTo>
                <a:lnTo>
                  <a:pt x="39068" y="51136"/>
                </a:lnTo>
                <a:lnTo>
                  <a:pt x="38966" y="51136"/>
                </a:lnTo>
                <a:lnTo>
                  <a:pt x="39170" y="51034"/>
                </a:lnTo>
                <a:lnTo>
                  <a:pt x="39375" y="50830"/>
                </a:lnTo>
                <a:lnTo>
                  <a:pt x="39682" y="50727"/>
                </a:lnTo>
                <a:lnTo>
                  <a:pt x="39580" y="50523"/>
                </a:lnTo>
                <a:lnTo>
                  <a:pt x="40091" y="50625"/>
                </a:lnTo>
                <a:lnTo>
                  <a:pt x="41216" y="49909"/>
                </a:lnTo>
                <a:lnTo>
                  <a:pt x="41216" y="49705"/>
                </a:lnTo>
                <a:lnTo>
                  <a:pt x="41420" y="49398"/>
                </a:lnTo>
                <a:lnTo>
                  <a:pt x="41420" y="49602"/>
                </a:lnTo>
                <a:lnTo>
                  <a:pt x="41625" y="49602"/>
                </a:lnTo>
                <a:lnTo>
                  <a:pt x="41318" y="49807"/>
                </a:lnTo>
                <a:lnTo>
                  <a:pt x="42341" y="49193"/>
                </a:lnTo>
                <a:lnTo>
                  <a:pt x="43773" y="49602"/>
                </a:lnTo>
                <a:lnTo>
                  <a:pt x="43977" y="49398"/>
                </a:lnTo>
                <a:lnTo>
                  <a:pt x="44489" y="49602"/>
                </a:lnTo>
                <a:lnTo>
                  <a:pt x="44489" y="49909"/>
                </a:lnTo>
                <a:lnTo>
                  <a:pt x="44386" y="49909"/>
                </a:lnTo>
                <a:lnTo>
                  <a:pt x="45205" y="50114"/>
                </a:lnTo>
                <a:lnTo>
                  <a:pt x="45409" y="49705"/>
                </a:lnTo>
                <a:lnTo>
                  <a:pt x="45920" y="50216"/>
                </a:lnTo>
                <a:lnTo>
                  <a:pt x="46125" y="50216"/>
                </a:lnTo>
                <a:lnTo>
                  <a:pt x="45818" y="49705"/>
                </a:lnTo>
                <a:lnTo>
                  <a:pt x="46227" y="49091"/>
                </a:lnTo>
                <a:lnTo>
                  <a:pt x="46227" y="49091"/>
                </a:lnTo>
                <a:lnTo>
                  <a:pt x="45920" y="49295"/>
                </a:lnTo>
                <a:lnTo>
                  <a:pt x="46023" y="48989"/>
                </a:lnTo>
                <a:lnTo>
                  <a:pt x="45307" y="49091"/>
                </a:lnTo>
                <a:lnTo>
                  <a:pt x="47557" y="48477"/>
                </a:lnTo>
                <a:lnTo>
                  <a:pt x="47557" y="48477"/>
                </a:lnTo>
                <a:lnTo>
                  <a:pt x="47455" y="48989"/>
                </a:lnTo>
                <a:lnTo>
                  <a:pt x="47966" y="48784"/>
                </a:lnTo>
                <a:lnTo>
                  <a:pt x="47966" y="48886"/>
                </a:lnTo>
                <a:lnTo>
                  <a:pt x="48477" y="48580"/>
                </a:lnTo>
                <a:lnTo>
                  <a:pt x="48477" y="48580"/>
                </a:lnTo>
                <a:lnTo>
                  <a:pt x="48170" y="48886"/>
                </a:lnTo>
                <a:lnTo>
                  <a:pt x="48886" y="48784"/>
                </a:lnTo>
                <a:lnTo>
                  <a:pt x="49602" y="48886"/>
                </a:lnTo>
                <a:lnTo>
                  <a:pt x="49500" y="49091"/>
                </a:lnTo>
                <a:lnTo>
                  <a:pt x="49655" y="49401"/>
                </a:lnTo>
                <a:lnTo>
                  <a:pt x="49655" y="49401"/>
                </a:lnTo>
                <a:lnTo>
                  <a:pt x="51239" y="49500"/>
                </a:lnTo>
                <a:lnTo>
                  <a:pt x="51750" y="50216"/>
                </a:lnTo>
                <a:lnTo>
                  <a:pt x="51443" y="51545"/>
                </a:lnTo>
                <a:lnTo>
                  <a:pt x="51648" y="51239"/>
                </a:lnTo>
                <a:lnTo>
                  <a:pt x="51852" y="51341"/>
                </a:lnTo>
                <a:lnTo>
                  <a:pt x="51443" y="51750"/>
                </a:lnTo>
                <a:lnTo>
                  <a:pt x="52670" y="54102"/>
                </a:lnTo>
                <a:lnTo>
                  <a:pt x="52875" y="54102"/>
                </a:lnTo>
                <a:lnTo>
                  <a:pt x="53485" y="53390"/>
                </a:lnTo>
                <a:lnTo>
                  <a:pt x="53485" y="53390"/>
                </a:lnTo>
                <a:lnTo>
                  <a:pt x="53403" y="50915"/>
                </a:lnTo>
                <a:lnTo>
                  <a:pt x="53591" y="50727"/>
                </a:lnTo>
                <a:lnTo>
                  <a:pt x="53489" y="47761"/>
                </a:lnTo>
                <a:lnTo>
                  <a:pt x="53693" y="47659"/>
                </a:lnTo>
                <a:lnTo>
                  <a:pt x="54307" y="46636"/>
                </a:lnTo>
                <a:lnTo>
                  <a:pt x="54307" y="46841"/>
                </a:lnTo>
                <a:lnTo>
                  <a:pt x="54409" y="46739"/>
                </a:lnTo>
                <a:lnTo>
                  <a:pt x="54409" y="46636"/>
                </a:lnTo>
                <a:lnTo>
                  <a:pt x="55841" y="45716"/>
                </a:lnTo>
                <a:lnTo>
                  <a:pt x="55841" y="45818"/>
                </a:lnTo>
                <a:lnTo>
                  <a:pt x="57170" y="44898"/>
                </a:lnTo>
                <a:lnTo>
                  <a:pt x="57170" y="45102"/>
                </a:lnTo>
                <a:lnTo>
                  <a:pt x="57784" y="44284"/>
                </a:lnTo>
                <a:lnTo>
                  <a:pt x="58705" y="44080"/>
                </a:lnTo>
                <a:lnTo>
                  <a:pt x="58193" y="43875"/>
                </a:lnTo>
                <a:lnTo>
                  <a:pt x="58602" y="43875"/>
                </a:lnTo>
                <a:lnTo>
                  <a:pt x="58295" y="43466"/>
                </a:lnTo>
                <a:lnTo>
                  <a:pt x="59420" y="43364"/>
                </a:lnTo>
                <a:lnTo>
                  <a:pt x="59523" y="43057"/>
                </a:lnTo>
                <a:lnTo>
                  <a:pt x="59523" y="43057"/>
                </a:lnTo>
                <a:lnTo>
                  <a:pt x="59216" y="43364"/>
                </a:lnTo>
                <a:lnTo>
                  <a:pt x="58705" y="43057"/>
                </a:lnTo>
                <a:lnTo>
                  <a:pt x="58807" y="42750"/>
                </a:lnTo>
                <a:lnTo>
                  <a:pt x="59216" y="42852"/>
                </a:lnTo>
                <a:lnTo>
                  <a:pt x="59318" y="42750"/>
                </a:lnTo>
                <a:lnTo>
                  <a:pt x="59523" y="42852"/>
                </a:lnTo>
                <a:lnTo>
                  <a:pt x="59523" y="42545"/>
                </a:lnTo>
                <a:lnTo>
                  <a:pt x="59420" y="42034"/>
                </a:lnTo>
                <a:lnTo>
                  <a:pt x="59216" y="41932"/>
                </a:lnTo>
                <a:lnTo>
                  <a:pt x="58705" y="41625"/>
                </a:lnTo>
                <a:lnTo>
                  <a:pt x="59114" y="41727"/>
                </a:lnTo>
                <a:lnTo>
                  <a:pt x="59216" y="41932"/>
                </a:lnTo>
                <a:lnTo>
                  <a:pt x="59216" y="41932"/>
                </a:lnTo>
                <a:lnTo>
                  <a:pt x="59114" y="41420"/>
                </a:lnTo>
                <a:lnTo>
                  <a:pt x="59420" y="41420"/>
                </a:lnTo>
                <a:lnTo>
                  <a:pt x="59523" y="41318"/>
                </a:lnTo>
                <a:lnTo>
                  <a:pt x="59011" y="40705"/>
                </a:lnTo>
                <a:lnTo>
                  <a:pt x="59523" y="41216"/>
                </a:lnTo>
                <a:lnTo>
                  <a:pt x="59523" y="40807"/>
                </a:lnTo>
                <a:lnTo>
                  <a:pt x="58909" y="40500"/>
                </a:lnTo>
                <a:lnTo>
                  <a:pt x="59318" y="39989"/>
                </a:lnTo>
                <a:lnTo>
                  <a:pt x="59011" y="40500"/>
                </a:lnTo>
                <a:lnTo>
                  <a:pt x="59216" y="40398"/>
                </a:lnTo>
                <a:lnTo>
                  <a:pt x="59216" y="40602"/>
                </a:lnTo>
                <a:lnTo>
                  <a:pt x="59318" y="40500"/>
                </a:lnTo>
                <a:lnTo>
                  <a:pt x="59625" y="40807"/>
                </a:lnTo>
                <a:lnTo>
                  <a:pt x="59523" y="40295"/>
                </a:lnTo>
                <a:lnTo>
                  <a:pt x="59727" y="40500"/>
                </a:lnTo>
                <a:lnTo>
                  <a:pt x="59830" y="39580"/>
                </a:lnTo>
                <a:lnTo>
                  <a:pt x="60034" y="39477"/>
                </a:lnTo>
                <a:lnTo>
                  <a:pt x="60034" y="39580"/>
                </a:lnTo>
                <a:lnTo>
                  <a:pt x="60136" y="39375"/>
                </a:lnTo>
                <a:lnTo>
                  <a:pt x="60136" y="39477"/>
                </a:lnTo>
                <a:lnTo>
                  <a:pt x="60443" y="39273"/>
                </a:lnTo>
                <a:lnTo>
                  <a:pt x="60443" y="39375"/>
                </a:lnTo>
                <a:lnTo>
                  <a:pt x="60341" y="39477"/>
                </a:lnTo>
                <a:lnTo>
                  <a:pt x="60443" y="39477"/>
                </a:lnTo>
                <a:lnTo>
                  <a:pt x="60034" y="39784"/>
                </a:lnTo>
                <a:lnTo>
                  <a:pt x="60136" y="39784"/>
                </a:lnTo>
                <a:lnTo>
                  <a:pt x="59830" y="40193"/>
                </a:lnTo>
                <a:lnTo>
                  <a:pt x="60136" y="40295"/>
                </a:lnTo>
                <a:lnTo>
                  <a:pt x="60136" y="40500"/>
                </a:lnTo>
                <a:lnTo>
                  <a:pt x="60034" y="40705"/>
                </a:lnTo>
                <a:lnTo>
                  <a:pt x="60034" y="40909"/>
                </a:lnTo>
                <a:lnTo>
                  <a:pt x="60136" y="40909"/>
                </a:lnTo>
                <a:lnTo>
                  <a:pt x="59727" y="41830"/>
                </a:lnTo>
                <a:lnTo>
                  <a:pt x="60750" y="40500"/>
                </a:lnTo>
                <a:lnTo>
                  <a:pt x="60750" y="39375"/>
                </a:lnTo>
                <a:lnTo>
                  <a:pt x="61057" y="39886"/>
                </a:lnTo>
                <a:lnTo>
                  <a:pt x="62182" y="38864"/>
                </a:lnTo>
                <a:lnTo>
                  <a:pt x="62386" y="38455"/>
                </a:lnTo>
                <a:lnTo>
                  <a:pt x="62284" y="38250"/>
                </a:lnTo>
                <a:lnTo>
                  <a:pt x="62591" y="37636"/>
                </a:lnTo>
                <a:lnTo>
                  <a:pt x="62489" y="38148"/>
                </a:lnTo>
                <a:lnTo>
                  <a:pt x="64943" y="37125"/>
                </a:lnTo>
                <a:lnTo>
                  <a:pt x="65045" y="37227"/>
                </a:lnTo>
                <a:lnTo>
                  <a:pt x="65148" y="37125"/>
                </a:lnTo>
                <a:lnTo>
                  <a:pt x="65148" y="37125"/>
                </a:lnTo>
                <a:lnTo>
                  <a:pt x="65045" y="37432"/>
                </a:lnTo>
                <a:lnTo>
                  <a:pt x="65557" y="37227"/>
                </a:lnTo>
                <a:lnTo>
                  <a:pt x="65557" y="37227"/>
                </a:lnTo>
                <a:lnTo>
                  <a:pt x="65455" y="37330"/>
                </a:lnTo>
                <a:lnTo>
                  <a:pt x="66068" y="37227"/>
                </a:lnTo>
                <a:lnTo>
                  <a:pt x="65966" y="36818"/>
                </a:lnTo>
                <a:lnTo>
                  <a:pt x="65761" y="37125"/>
                </a:lnTo>
                <a:lnTo>
                  <a:pt x="65455" y="36614"/>
                </a:lnTo>
                <a:lnTo>
                  <a:pt x="66784" y="35080"/>
                </a:lnTo>
                <a:lnTo>
                  <a:pt x="66886" y="35182"/>
                </a:lnTo>
                <a:lnTo>
                  <a:pt x="66989" y="34977"/>
                </a:lnTo>
                <a:lnTo>
                  <a:pt x="66989" y="35080"/>
                </a:lnTo>
                <a:lnTo>
                  <a:pt x="67091" y="34875"/>
                </a:lnTo>
                <a:lnTo>
                  <a:pt x="67091" y="35080"/>
                </a:lnTo>
                <a:lnTo>
                  <a:pt x="67193" y="34977"/>
                </a:lnTo>
                <a:lnTo>
                  <a:pt x="68011" y="34364"/>
                </a:lnTo>
                <a:lnTo>
                  <a:pt x="68011" y="34466"/>
                </a:lnTo>
                <a:lnTo>
                  <a:pt x="67909" y="34568"/>
                </a:lnTo>
                <a:lnTo>
                  <a:pt x="68114" y="34670"/>
                </a:lnTo>
                <a:lnTo>
                  <a:pt x="68216" y="34364"/>
                </a:lnTo>
                <a:lnTo>
                  <a:pt x="68523" y="34568"/>
                </a:lnTo>
                <a:lnTo>
                  <a:pt x="69136" y="34261"/>
                </a:lnTo>
                <a:lnTo>
                  <a:pt x="69545" y="33648"/>
                </a:lnTo>
                <a:lnTo>
                  <a:pt x="70568" y="33443"/>
                </a:lnTo>
                <a:lnTo>
                  <a:pt x="70466" y="33545"/>
                </a:lnTo>
                <a:lnTo>
                  <a:pt x="71795" y="32932"/>
                </a:lnTo>
                <a:lnTo>
                  <a:pt x="72102" y="33034"/>
                </a:lnTo>
                <a:lnTo>
                  <a:pt x="71386" y="33443"/>
                </a:lnTo>
                <a:lnTo>
                  <a:pt x="72716" y="33443"/>
                </a:lnTo>
                <a:lnTo>
                  <a:pt x="71898" y="33852"/>
                </a:lnTo>
                <a:lnTo>
                  <a:pt x="71898" y="33545"/>
                </a:lnTo>
                <a:lnTo>
                  <a:pt x="71795" y="33545"/>
                </a:lnTo>
                <a:lnTo>
                  <a:pt x="70568" y="34261"/>
                </a:lnTo>
                <a:lnTo>
                  <a:pt x="70568" y="34261"/>
                </a:lnTo>
                <a:lnTo>
                  <a:pt x="70364" y="34364"/>
                </a:lnTo>
                <a:lnTo>
                  <a:pt x="69955" y="35182"/>
                </a:lnTo>
                <a:lnTo>
                  <a:pt x="70261" y="35386"/>
                </a:lnTo>
                <a:lnTo>
                  <a:pt x="71795" y="34364"/>
                </a:lnTo>
                <a:lnTo>
                  <a:pt x="71795" y="34466"/>
                </a:lnTo>
                <a:lnTo>
                  <a:pt x="71898" y="34261"/>
                </a:lnTo>
                <a:lnTo>
                  <a:pt x="74250" y="33648"/>
                </a:lnTo>
                <a:lnTo>
                  <a:pt x="74250" y="33443"/>
                </a:lnTo>
                <a:lnTo>
                  <a:pt x="74250" y="33136"/>
                </a:lnTo>
                <a:lnTo>
                  <a:pt x="73943" y="32932"/>
                </a:lnTo>
                <a:lnTo>
                  <a:pt x="73227" y="33239"/>
                </a:lnTo>
                <a:lnTo>
                  <a:pt x="73330" y="33136"/>
                </a:lnTo>
                <a:lnTo>
                  <a:pt x="72307" y="32830"/>
                </a:lnTo>
                <a:lnTo>
                  <a:pt x="72511" y="32727"/>
                </a:lnTo>
                <a:lnTo>
                  <a:pt x="72000" y="32420"/>
                </a:lnTo>
                <a:lnTo>
                  <a:pt x="72000" y="31807"/>
                </a:lnTo>
                <a:lnTo>
                  <a:pt x="71693" y="31705"/>
                </a:lnTo>
                <a:lnTo>
                  <a:pt x="72409" y="31091"/>
                </a:lnTo>
                <a:lnTo>
                  <a:pt x="72146" y="31003"/>
                </a:lnTo>
                <a:lnTo>
                  <a:pt x="72146" y="31003"/>
                </a:lnTo>
                <a:lnTo>
                  <a:pt x="71795" y="31091"/>
                </a:lnTo>
                <a:lnTo>
                  <a:pt x="70875" y="30784"/>
                </a:lnTo>
                <a:lnTo>
                  <a:pt x="72102" y="30784"/>
                </a:lnTo>
                <a:lnTo>
                  <a:pt x="72818" y="29966"/>
                </a:lnTo>
                <a:lnTo>
                  <a:pt x="70568" y="29966"/>
                </a:lnTo>
                <a:lnTo>
                  <a:pt x="63307" y="33852"/>
                </a:lnTo>
                <a:lnTo>
                  <a:pt x="63307" y="33852"/>
                </a:lnTo>
                <a:lnTo>
                  <a:pt x="68114" y="31091"/>
                </a:lnTo>
                <a:lnTo>
                  <a:pt x="67602" y="30375"/>
                </a:lnTo>
                <a:lnTo>
                  <a:pt x="79977" y="27205"/>
                </a:lnTo>
                <a:lnTo>
                  <a:pt x="80795" y="26489"/>
                </a:lnTo>
                <a:lnTo>
                  <a:pt x="80591" y="26284"/>
                </a:lnTo>
                <a:lnTo>
                  <a:pt x="81000" y="26080"/>
                </a:lnTo>
                <a:lnTo>
                  <a:pt x="81205" y="25466"/>
                </a:lnTo>
                <a:lnTo>
                  <a:pt x="80898" y="25159"/>
                </a:lnTo>
                <a:lnTo>
                  <a:pt x="80080" y="25364"/>
                </a:lnTo>
                <a:lnTo>
                  <a:pt x="79977" y="25261"/>
                </a:lnTo>
                <a:lnTo>
                  <a:pt x="80386" y="24852"/>
                </a:lnTo>
                <a:lnTo>
                  <a:pt x="79875" y="24750"/>
                </a:lnTo>
                <a:lnTo>
                  <a:pt x="77727" y="25568"/>
                </a:lnTo>
                <a:lnTo>
                  <a:pt x="78034" y="25364"/>
                </a:lnTo>
                <a:lnTo>
                  <a:pt x="77830" y="25261"/>
                </a:lnTo>
                <a:lnTo>
                  <a:pt x="80182" y="24545"/>
                </a:lnTo>
                <a:lnTo>
                  <a:pt x="80182" y="24034"/>
                </a:lnTo>
                <a:lnTo>
                  <a:pt x="79773" y="24136"/>
                </a:lnTo>
                <a:lnTo>
                  <a:pt x="79261" y="23727"/>
                </a:lnTo>
                <a:lnTo>
                  <a:pt x="78648" y="24034"/>
                </a:lnTo>
                <a:lnTo>
                  <a:pt x="79159" y="23727"/>
                </a:lnTo>
                <a:lnTo>
                  <a:pt x="78852" y="23625"/>
                </a:lnTo>
                <a:lnTo>
                  <a:pt x="78239" y="23830"/>
                </a:lnTo>
                <a:lnTo>
                  <a:pt x="78648" y="23523"/>
                </a:lnTo>
                <a:lnTo>
                  <a:pt x="78648" y="23114"/>
                </a:lnTo>
                <a:lnTo>
                  <a:pt x="78545" y="23216"/>
                </a:lnTo>
                <a:lnTo>
                  <a:pt x="78443" y="23011"/>
                </a:lnTo>
                <a:lnTo>
                  <a:pt x="77932" y="22909"/>
                </a:lnTo>
                <a:lnTo>
                  <a:pt x="78136" y="22705"/>
                </a:lnTo>
                <a:lnTo>
                  <a:pt x="77830" y="22705"/>
                </a:lnTo>
                <a:lnTo>
                  <a:pt x="78136" y="22602"/>
                </a:lnTo>
                <a:lnTo>
                  <a:pt x="77727" y="22500"/>
                </a:lnTo>
                <a:lnTo>
                  <a:pt x="77932" y="22398"/>
                </a:lnTo>
                <a:lnTo>
                  <a:pt x="77523" y="22193"/>
                </a:lnTo>
                <a:lnTo>
                  <a:pt x="78341" y="22091"/>
                </a:lnTo>
                <a:lnTo>
                  <a:pt x="77727" y="21477"/>
                </a:lnTo>
                <a:lnTo>
                  <a:pt x="78341" y="21170"/>
                </a:lnTo>
                <a:lnTo>
                  <a:pt x="78034" y="20864"/>
                </a:lnTo>
                <a:lnTo>
                  <a:pt x="77420" y="20966"/>
                </a:lnTo>
                <a:lnTo>
                  <a:pt x="77420" y="20966"/>
                </a:lnTo>
                <a:lnTo>
                  <a:pt x="78136" y="20557"/>
                </a:lnTo>
                <a:lnTo>
                  <a:pt x="77318" y="20659"/>
                </a:lnTo>
                <a:lnTo>
                  <a:pt x="77318" y="20659"/>
                </a:lnTo>
                <a:lnTo>
                  <a:pt x="77932" y="20455"/>
                </a:lnTo>
                <a:lnTo>
                  <a:pt x="77727" y="20148"/>
                </a:lnTo>
                <a:lnTo>
                  <a:pt x="77932" y="20045"/>
                </a:lnTo>
                <a:lnTo>
                  <a:pt x="77318" y="20045"/>
                </a:lnTo>
                <a:lnTo>
                  <a:pt x="77727" y="19943"/>
                </a:lnTo>
                <a:lnTo>
                  <a:pt x="77523" y="19636"/>
                </a:lnTo>
                <a:lnTo>
                  <a:pt x="77727" y="19534"/>
                </a:lnTo>
                <a:lnTo>
                  <a:pt x="77625" y="19330"/>
                </a:lnTo>
                <a:lnTo>
                  <a:pt x="77420" y="19330"/>
                </a:lnTo>
                <a:lnTo>
                  <a:pt x="77216" y="19125"/>
                </a:lnTo>
                <a:lnTo>
                  <a:pt x="77216" y="18818"/>
                </a:lnTo>
                <a:lnTo>
                  <a:pt x="76705" y="19739"/>
                </a:lnTo>
                <a:lnTo>
                  <a:pt x="76398" y="19739"/>
                </a:lnTo>
                <a:lnTo>
                  <a:pt x="76295" y="20045"/>
                </a:lnTo>
                <a:lnTo>
                  <a:pt x="75580" y="20557"/>
                </a:lnTo>
                <a:lnTo>
                  <a:pt x="75477" y="20250"/>
                </a:lnTo>
                <a:lnTo>
                  <a:pt x="74148" y="21068"/>
                </a:lnTo>
                <a:lnTo>
                  <a:pt x="74250" y="20659"/>
                </a:lnTo>
                <a:lnTo>
                  <a:pt x="73943" y="20864"/>
                </a:lnTo>
                <a:lnTo>
                  <a:pt x="73841" y="20761"/>
                </a:lnTo>
                <a:lnTo>
                  <a:pt x="73739" y="20761"/>
                </a:lnTo>
                <a:lnTo>
                  <a:pt x="73943" y="20250"/>
                </a:lnTo>
                <a:lnTo>
                  <a:pt x="72716" y="20250"/>
                </a:lnTo>
                <a:lnTo>
                  <a:pt x="73534" y="19739"/>
                </a:lnTo>
                <a:lnTo>
                  <a:pt x="73330" y="19739"/>
                </a:lnTo>
                <a:lnTo>
                  <a:pt x="73534" y="19330"/>
                </a:lnTo>
                <a:lnTo>
                  <a:pt x="72920" y="19125"/>
                </a:lnTo>
                <a:lnTo>
                  <a:pt x="73636" y="19023"/>
                </a:lnTo>
                <a:lnTo>
                  <a:pt x="74148" y="18102"/>
                </a:lnTo>
                <a:lnTo>
                  <a:pt x="74148" y="18102"/>
                </a:lnTo>
                <a:lnTo>
                  <a:pt x="73841" y="18307"/>
                </a:lnTo>
                <a:lnTo>
                  <a:pt x="72716" y="17795"/>
                </a:lnTo>
                <a:lnTo>
                  <a:pt x="73023" y="17591"/>
                </a:lnTo>
                <a:lnTo>
                  <a:pt x="72511" y="17591"/>
                </a:lnTo>
                <a:lnTo>
                  <a:pt x="72000" y="16875"/>
                </a:lnTo>
                <a:lnTo>
                  <a:pt x="70364" y="17080"/>
                </a:lnTo>
                <a:lnTo>
                  <a:pt x="70466" y="16977"/>
                </a:lnTo>
                <a:lnTo>
                  <a:pt x="68932" y="16875"/>
                </a:lnTo>
                <a:lnTo>
                  <a:pt x="68727" y="17693"/>
                </a:lnTo>
                <a:lnTo>
                  <a:pt x="67909" y="18307"/>
                </a:lnTo>
                <a:lnTo>
                  <a:pt x="68318" y="18307"/>
                </a:lnTo>
                <a:lnTo>
                  <a:pt x="67909" y="19023"/>
                </a:lnTo>
                <a:lnTo>
                  <a:pt x="68114" y="19125"/>
                </a:lnTo>
                <a:lnTo>
                  <a:pt x="66580" y="20250"/>
                </a:lnTo>
                <a:lnTo>
                  <a:pt x="67193" y="21784"/>
                </a:lnTo>
                <a:lnTo>
                  <a:pt x="63511" y="24239"/>
                </a:lnTo>
                <a:lnTo>
                  <a:pt x="63716" y="24750"/>
                </a:lnTo>
                <a:lnTo>
                  <a:pt x="63614" y="24750"/>
                </a:lnTo>
                <a:lnTo>
                  <a:pt x="63716" y="25057"/>
                </a:lnTo>
                <a:lnTo>
                  <a:pt x="63307" y="26591"/>
                </a:lnTo>
                <a:lnTo>
                  <a:pt x="62693" y="27000"/>
                </a:lnTo>
                <a:lnTo>
                  <a:pt x="62795" y="27307"/>
                </a:lnTo>
                <a:lnTo>
                  <a:pt x="62489" y="27614"/>
                </a:lnTo>
                <a:lnTo>
                  <a:pt x="62386" y="27205"/>
                </a:lnTo>
                <a:lnTo>
                  <a:pt x="61977" y="27511"/>
                </a:lnTo>
                <a:lnTo>
                  <a:pt x="61977" y="28023"/>
                </a:lnTo>
                <a:lnTo>
                  <a:pt x="60955" y="27716"/>
                </a:lnTo>
                <a:lnTo>
                  <a:pt x="61364" y="27000"/>
                </a:lnTo>
                <a:lnTo>
                  <a:pt x="60648" y="26591"/>
                </a:lnTo>
                <a:lnTo>
                  <a:pt x="61466" y="24341"/>
                </a:lnTo>
                <a:lnTo>
                  <a:pt x="60852" y="23625"/>
                </a:lnTo>
                <a:lnTo>
                  <a:pt x="59420" y="23830"/>
                </a:lnTo>
                <a:lnTo>
                  <a:pt x="59216" y="23216"/>
                </a:lnTo>
                <a:lnTo>
                  <a:pt x="57682" y="22091"/>
                </a:lnTo>
                <a:lnTo>
                  <a:pt x="55227" y="21989"/>
                </a:lnTo>
                <a:lnTo>
                  <a:pt x="55330" y="21886"/>
                </a:lnTo>
                <a:lnTo>
                  <a:pt x="54920" y="22091"/>
                </a:lnTo>
                <a:lnTo>
                  <a:pt x="55636" y="20761"/>
                </a:lnTo>
                <a:lnTo>
                  <a:pt x="55534" y="20250"/>
                </a:lnTo>
                <a:lnTo>
                  <a:pt x="54614" y="20761"/>
                </a:lnTo>
                <a:lnTo>
                  <a:pt x="54920" y="20352"/>
                </a:lnTo>
                <a:lnTo>
                  <a:pt x="54716" y="20045"/>
                </a:lnTo>
                <a:lnTo>
                  <a:pt x="57580" y="17489"/>
                </a:lnTo>
                <a:lnTo>
                  <a:pt x="57580" y="17284"/>
                </a:lnTo>
                <a:lnTo>
                  <a:pt x="58091" y="16875"/>
                </a:lnTo>
                <a:lnTo>
                  <a:pt x="58398" y="17080"/>
                </a:lnTo>
                <a:lnTo>
                  <a:pt x="58398" y="16875"/>
                </a:lnTo>
                <a:lnTo>
                  <a:pt x="59114" y="16670"/>
                </a:lnTo>
                <a:lnTo>
                  <a:pt x="59216" y="16466"/>
                </a:lnTo>
                <a:lnTo>
                  <a:pt x="60136" y="16364"/>
                </a:lnTo>
                <a:lnTo>
                  <a:pt x="60239" y="15852"/>
                </a:lnTo>
                <a:lnTo>
                  <a:pt x="59830" y="15648"/>
                </a:lnTo>
                <a:lnTo>
                  <a:pt x="59420" y="15852"/>
                </a:lnTo>
                <a:lnTo>
                  <a:pt x="59727" y="15648"/>
                </a:lnTo>
                <a:lnTo>
                  <a:pt x="59011" y="15443"/>
                </a:lnTo>
                <a:lnTo>
                  <a:pt x="58909" y="15239"/>
                </a:lnTo>
                <a:lnTo>
                  <a:pt x="59932" y="15545"/>
                </a:lnTo>
                <a:lnTo>
                  <a:pt x="59932" y="15648"/>
                </a:lnTo>
                <a:lnTo>
                  <a:pt x="64227" y="14318"/>
                </a:lnTo>
                <a:lnTo>
                  <a:pt x="61670" y="13602"/>
                </a:lnTo>
                <a:lnTo>
                  <a:pt x="62693" y="13705"/>
                </a:lnTo>
                <a:lnTo>
                  <a:pt x="64330" y="14114"/>
                </a:lnTo>
                <a:lnTo>
                  <a:pt x="65455" y="13602"/>
                </a:lnTo>
                <a:lnTo>
                  <a:pt x="65250" y="13193"/>
                </a:lnTo>
                <a:lnTo>
                  <a:pt x="66170" y="13091"/>
                </a:lnTo>
                <a:lnTo>
                  <a:pt x="66375" y="13398"/>
                </a:lnTo>
                <a:lnTo>
                  <a:pt x="66784" y="13295"/>
                </a:lnTo>
                <a:lnTo>
                  <a:pt x="67091" y="13091"/>
                </a:lnTo>
                <a:lnTo>
                  <a:pt x="66580" y="12784"/>
                </a:lnTo>
                <a:lnTo>
                  <a:pt x="66580" y="12784"/>
                </a:lnTo>
                <a:lnTo>
                  <a:pt x="67091" y="12886"/>
                </a:lnTo>
                <a:lnTo>
                  <a:pt x="67398" y="13295"/>
                </a:lnTo>
                <a:lnTo>
                  <a:pt x="69545" y="12273"/>
                </a:lnTo>
                <a:lnTo>
                  <a:pt x="69443" y="11659"/>
                </a:lnTo>
                <a:lnTo>
                  <a:pt x="69955" y="11045"/>
                </a:lnTo>
                <a:lnTo>
                  <a:pt x="70568" y="10841"/>
                </a:lnTo>
                <a:lnTo>
                  <a:pt x="69955" y="10739"/>
                </a:lnTo>
                <a:lnTo>
                  <a:pt x="69852" y="10534"/>
                </a:lnTo>
                <a:lnTo>
                  <a:pt x="70159" y="10432"/>
                </a:lnTo>
                <a:lnTo>
                  <a:pt x="68216" y="10227"/>
                </a:lnTo>
                <a:lnTo>
                  <a:pt x="67909" y="10739"/>
                </a:lnTo>
                <a:lnTo>
                  <a:pt x="68114" y="10943"/>
                </a:lnTo>
                <a:lnTo>
                  <a:pt x="67807" y="11045"/>
                </a:lnTo>
                <a:lnTo>
                  <a:pt x="68011" y="11148"/>
                </a:lnTo>
                <a:lnTo>
                  <a:pt x="65352" y="12580"/>
                </a:lnTo>
                <a:lnTo>
                  <a:pt x="65148" y="11761"/>
                </a:lnTo>
                <a:lnTo>
                  <a:pt x="65352" y="11557"/>
                </a:lnTo>
                <a:lnTo>
                  <a:pt x="65455" y="11557"/>
                </a:lnTo>
                <a:lnTo>
                  <a:pt x="65864" y="11045"/>
                </a:lnTo>
                <a:lnTo>
                  <a:pt x="64841" y="11045"/>
                </a:lnTo>
                <a:lnTo>
                  <a:pt x="64023" y="11557"/>
                </a:lnTo>
                <a:lnTo>
                  <a:pt x="64023" y="11557"/>
                </a:lnTo>
                <a:lnTo>
                  <a:pt x="64125" y="10739"/>
                </a:lnTo>
                <a:lnTo>
                  <a:pt x="64739" y="10534"/>
                </a:lnTo>
                <a:lnTo>
                  <a:pt x="64125" y="10534"/>
                </a:lnTo>
                <a:lnTo>
                  <a:pt x="64432" y="10432"/>
                </a:lnTo>
                <a:lnTo>
                  <a:pt x="63307" y="10330"/>
                </a:lnTo>
                <a:lnTo>
                  <a:pt x="64125" y="10023"/>
                </a:lnTo>
                <a:lnTo>
                  <a:pt x="63818" y="10023"/>
                </a:lnTo>
                <a:lnTo>
                  <a:pt x="64330" y="9920"/>
                </a:lnTo>
                <a:lnTo>
                  <a:pt x="64125" y="9409"/>
                </a:lnTo>
                <a:lnTo>
                  <a:pt x="64432" y="9000"/>
                </a:lnTo>
                <a:lnTo>
                  <a:pt x="64227" y="8591"/>
                </a:lnTo>
                <a:lnTo>
                  <a:pt x="63920" y="8386"/>
                </a:lnTo>
                <a:close/>
              </a:path>
            </a:pathLst>
          </a:cu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632" name="Shape 632"/>
          <p:cNvSpPr/>
          <p:nvPr/>
        </p:nvSpPr>
        <p:spPr>
          <a:xfrm>
            <a:off x="727043" y="2921298"/>
            <a:ext cx="1362628" cy="637999"/>
          </a:xfrm>
          <a:prstGeom prst="wedgeRectCallout">
            <a:avLst>
              <a:gd name="adj1" fmla="val 67774"/>
              <a:gd name="adj2" fmla="val 53677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" sz="1400" b="1" dirty="0">
                <a:solidFill>
                  <a:srgbClr val="FFFFFF"/>
                </a:solidFill>
                <a:latin typeface="Aleo Regular"/>
                <a:ea typeface="Muli"/>
                <a:cs typeface="Muli"/>
                <a:sym typeface="Muli"/>
              </a:rPr>
              <a:t>MEXICO: 1,032.74 Ton</a:t>
            </a:r>
          </a:p>
        </p:txBody>
      </p:sp>
      <p:sp>
        <p:nvSpPr>
          <p:cNvPr id="633" name="Shape 633"/>
          <p:cNvSpPr/>
          <p:nvPr/>
        </p:nvSpPr>
        <p:spPr>
          <a:xfrm rot="8100000">
            <a:off x="2202268" y="3594213"/>
            <a:ext cx="168573" cy="168573"/>
          </a:xfrm>
          <a:prstGeom prst="teardrop">
            <a:avLst>
              <a:gd name="adj" fmla="val 100000"/>
            </a:avLst>
          </a:prstGeom>
          <a:solidFill>
            <a:schemeClr val="bg2">
              <a:lumMod val="50000"/>
            </a:schemeClr>
          </a:solidFill>
          <a:ln w="9525" cap="flat" cmpd="sng">
            <a:solidFill>
              <a:srgbClr val="3C78D8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endParaRPr sz="24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34" name="Shape 634"/>
          <p:cNvSpPr/>
          <p:nvPr/>
        </p:nvSpPr>
        <p:spPr>
          <a:xfrm rot="8100000">
            <a:off x="3813773" y="4510847"/>
            <a:ext cx="168573" cy="168573"/>
          </a:xfrm>
          <a:prstGeom prst="teardrop">
            <a:avLst>
              <a:gd name="adj" fmla="val 100000"/>
            </a:avLst>
          </a:prstGeom>
          <a:solidFill>
            <a:schemeClr val="bg2">
              <a:lumMod val="50000"/>
            </a:schemeClr>
          </a:solidFill>
          <a:ln w="9525" cap="flat" cmpd="sng">
            <a:solidFill>
              <a:srgbClr val="3C78D8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635" name="Shape 635"/>
          <p:cNvSpPr/>
          <p:nvPr/>
        </p:nvSpPr>
        <p:spPr>
          <a:xfrm rot="8100000">
            <a:off x="5529502" y="2578053"/>
            <a:ext cx="168573" cy="168573"/>
          </a:xfrm>
          <a:prstGeom prst="teardrop">
            <a:avLst>
              <a:gd name="adj" fmla="val 100000"/>
            </a:avLst>
          </a:prstGeom>
          <a:solidFill>
            <a:schemeClr val="bg2">
              <a:lumMod val="50000"/>
            </a:schemeClr>
          </a:solidFill>
          <a:ln w="9525" cap="flat" cmpd="sng">
            <a:solidFill>
              <a:srgbClr val="3C78D8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636" name="Shape 636"/>
          <p:cNvSpPr/>
          <p:nvPr/>
        </p:nvSpPr>
        <p:spPr>
          <a:xfrm rot="8100000">
            <a:off x="7848893" y="3475012"/>
            <a:ext cx="168573" cy="168573"/>
          </a:xfrm>
          <a:prstGeom prst="teardrop">
            <a:avLst>
              <a:gd name="adj" fmla="val 100000"/>
            </a:avLst>
          </a:prstGeom>
          <a:solidFill>
            <a:schemeClr val="bg2">
              <a:lumMod val="50000"/>
            </a:schemeClr>
          </a:solidFill>
          <a:ln w="9525" cap="flat" cmpd="sng">
            <a:solidFill>
              <a:srgbClr val="3C78D8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637" name="Shape 637"/>
          <p:cNvSpPr/>
          <p:nvPr/>
        </p:nvSpPr>
        <p:spPr>
          <a:xfrm rot="8100000">
            <a:off x="8862240" y="3327848"/>
            <a:ext cx="168573" cy="168573"/>
          </a:xfrm>
          <a:prstGeom prst="teardrop">
            <a:avLst>
              <a:gd name="adj" fmla="val 100000"/>
            </a:avLst>
          </a:prstGeom>
          <a:solidFill>
            <a:schemeClr val="bg2">
              <a:lumMod val="50000"/>
            </a:schemeClr>
          </a:solidFill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638" name="Shape 638"/>
          <p:cNvSpPr/>
          <p:nvPr/>
        </p:nvSpPr>
        <p:spPr>
          <a:xfrm rot="8100000">
            <a:off x="8022540" y="1994387"/>
            <a:ext cx="168573" cy="168573"/>
          </a:xfrm>
          <a:prstGeom prst="teardrop">
            <a:avLst>
              <a:gd name="adj" fmla="val 100000"/>
            </a:avLst>
          </a:prstGeom>
          <a:solidFill>
            <a:schemeClr val="bg2">
              <a:lumMod val="50000"/>
            </a:schemeClr>
          </a:solidFill>
          <a:ln w="9525" cap="flat" cmpd="sng">
            <a:solidFill>
              <a:srgbClr val="3C78D8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2" name="Rectángulo 11"/>
          <p:cNvSpPr/>
          <p:nvPr/>
        </p:nvSpPr>
        <p:spPr>
          <a:xfrm>
            <a:off x="1533815" y="870033"/>
            <a:ext cx="8379217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2700" b="1" dirty="0" smtClean="0">
                <a:solidFill>
                  <a:schemeClr val="bg2">
                    <a:lumMod val="50000"/>
                  </a:schemeClr>
                </a:solidFill>
                <a:latin typeface="Aleo Regular"/>
                <a:sym typeface="Aleo Regular" charset="0"/>
              </a:rPr>
              <a:t>Basura electrónica…</a:t>
            </a:r>
            <a:r>
              <a:rPr lang="es-MX" sz="2700" b="1" dirty="0" smtClean="0">
                <a:solidFill>
                  <a:srgbClr val="0070C0"/>
                </a:solidFill>
                <a:latin typeface="Aleo Regular"/>
                <a:sym typeface="Aleo Regular" charset="0"/>
              </a:rPr>
              <a:t> </a:t>
            </a:r>
            <a:r>
              <a:rPr lang="es-MX" sz="2700" b="1" dirty="0" smtClean="0">
                <a:solidFill>
                  <a:srgbClr val="00B0F0"/>
                </a:solidFill>
                <a:latin typeface="Aleo Regular"/>
                <a:sym typeface="Aleo Regular" charset="0"/>
              </a:rPr>
              <a:t>la otra cara de la tecnología</a:t>
            </a:r>
            <a:r>
              <a:rPr lang="es-MX" sz="2700" b="1" dirty="0" smtClean="0">
                <a:solidFill>
                  <a:srgbClr val="2DD1E7"/>
                </a:solidFill>
                <a:latin typeface="Aleo Regular"/>
                <a:sym typeface="Aleo Regular" charset="0"/>
              </a:rPr>
              <a:t>.</a:t>
            </a:r>
            <a:endParaRPr lang="es-MX" sz="2700" b="1" dirty="0">
              <a:solidFill>
                <a:srgbClr val="2DD1E7"/>
              </a:solidFill>
              <a:latin typeface="Aleo Regular"/>
            </a:endParaRPr>
          </a:p>
        </p:txBody>
      </p:sp>
      <p:sp>
        <p:nvSpPr>
          <p:cNvPr id="13" name="Shape 632"/>
          <p:cNvSpPr/>
          <p:nvPr/>
        </p:nvSpPr>
        <p:spPr>
          <a:xfrm>
            <a:off x="3430618" y="3594888"/>
            <a:ext cx="1320067" cy="624089"/>
          </a:xfrm>
          <a:prstGeom prst="wedgeRectCallout">
            <a:avLst>
              <a:gd name="adj1" fmla="val -21428"/>
              <a:gd name="adj2" fmla="val 84287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r>
              <a:rPr lang="en" sz="1400" b="1" dirty="0">
                <a:solidFill>
                  <a:schemeClr val="bg1"/>
                </a:solidFill>
                <a:latin typeface="Aleo Regular"/>
                <a:ea typeface="Muli"/>
                <a:cs typeface="Muli"/>
                <a:sym typeface="Muli"/>
              </a:rPr>
              <a:t>BRASIL</a:t>
            </a:r>
            <a:r>
              <a:rPr lang="en" sz="1400" b="1" dirty="0" smtClean="0">
                <a:solidFill>
                  <a:schemeClr val="bg1"/>
                </a:solidFill>
                <a:latin typeface="Aleo Regular"/>
                <a:ea typeface="Muli"/>
                <a:cs typeface="Muli"/>
                <a:sym typeface="Muli"/>
              </a:rPr>
              <a:t>:</a:t>
            </a:r>
          </a:p>
          <a:p>
            <a:r>
              <a:rPr lang="en" sz="1400" b="1" dirty="0" smtClean="0">
                <a:solidFill>
                  <a:schemeClr val="bg1"/>
                </a:solidFill>
                <a:latin typeface="Aleo Regular"/>
                <a:ea typeface="Muli"/>
                <a:cs typeface="Muli"/>
                <a:sym typeface="Muli"/>
              </a:rPr>
              <a:t>1,387.85 </a:t>
            </a:r>
            <a:r>
              <a:rPr lang="en" sz="1400" b="1" dirty="0">
                <a:solidFill>
                  <a:schemeClr val="bg1"/>
                </a:solidFill>
                <a:latin typeface="Aleo Regular"/>
                <a:ea typeface="Muli"/>
                <a:cs typeface="Muli"/>
                <a:sym typeface="Muli"/>
              </a:rPr>
              <a:t>Ton</a:t>
            </a:r>
          </a:p>
        </p:txBody>
      </p:sp>
      <p:sp>
        <p:nvSpPr>
          <p:cNvPr id="14" name="Shape 632"/>
          <p:cNvSpPr/>
          <p:nvPr/>
        </p:nvSpPr>
        <p:spPr>
          <a:xfrm>
            <a:off x="2319754" y="2332469"/>
            <a:ext cx="1352638" cy="588829"/>
          </a:xfrm>
          <a:prstGeom prst="wedgeRectCallout">
            <a:avLst>
              <a:gd name="adj1" fmla="val -21428"/>
              <a:gd name="adj2" fmla="val 84287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r>
              <a:rPr lang="en" sz="1400" b="1" dirty="0">
                <a:solidFill>
                  <a:srgbClr val="FFFFFF"/>
                </a:solidFill>
                <a:latin typeface="Aleo Regular"/>
                <a:ea typeface="Muli"/>
                <a:cs typeface="Muli"/>
                <a:sym typeface="Muli"/>
              </a:rPr>
              <a:t>USA:  9,359.78 Ton</a:t>
            </a:r>
          </a:p>
        </p:txBody>
      </p:sp>
      <p:sp>
        <p:nvSpPr>
          <p:cNvPr id="15" name="Shape 633"/>
          <p:cNvSpPr/>
          <p:nvPr/>
        </p:nvSpPr>
        <p:spPr>
          <a:xfrm rot="8100000">
            <a:off x="2354667" y="3038272"/>
            <a:ext cx="168573" cy="168573"/>
          </a:xfrm>
          <a:prstGeom prst="teardrop">
            <a:avLst>
              <a:gd name="adj" fmla="val 100000"/>
            </a:avLst>
          </a:prstGeom>
          <a:solidFill>
            <a:schemeClr val="bg2">
              <a:lumMod val="50000"/>
            </a:schemeClr>
          </a:solidFill>
          <a:ln w="9525" cap="flat" cmpd="sng">
            <a:solidFill>
              <a:srgbClr val="3C78D8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6" name="Shape 637"/>
          <p:cNvSpPr/>
          <p:nvPr/>
        </p:nvSpPr>
        <p:spPr>
          <a:xfrm rot="8100000">
            <a:off x="9471875" y="2970120"/>
            <a:ext cx="168573" cy="168573"/>
          </a:xfrm>
          <a:prstGeom prst="teardrop">
            <a:avLst>
              <a:gd name="adj" fmla="val 100000"/>
            </a:avLst>
          </a:prstGeom>
          <a:solidFill>
            <a:schemeClr val="bg2">
              <a:lumMod val="50000"/>
            </a:schemeClr>
          </a:solidFill>
          <a:ln w="9525" cap="flat" cmpd="sng">
            <a:solidFill>
              <a:srgbClr val="3C78D8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7" name="Shape 632"/>
          <p:cNvSpPr/>
          <p:nvPr/>
        </p:nvSpPr>
        <p:spPr>
          <a:xfrm>
            <a:off x="5326264" y="1830312"/>
            <a:ext cx="1111712" cy="504892"/>
          </a:xfrm>
          <a:prstGeom prst="wedgeRectCallout">
            <a:avLst>
              <a:gd name="adj1" fmla="val -21428"/>
              <a:gd name="adj2" fmla="val 84287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r>
              <a:rPr lang="en" sz="1400" b="1" dirty="0">
                <a:solidFill>
                  <a:srgbClr val="FFFFFF"/>
                </a:solidFill>
                <a:latin typeface="Aleo Regular"/>
                <a:ea typeface="Muli"/>
                <a:cs typeface="Muli"/>
                <a:sym typeface="Muli"/>
              </a:rPr>
              <a:t>EU</a:t>
            </a:r>
            <a:r>
              <a:rPr lang="en" sz="1400" b="1" dirty="0" smtClean="0">
                <a:solidFill>
                  <a:srgbClr val="FFFFFF"/>
                </a:solidFill>
                <a:latin typeface="Aleo Regular"/>
                <a:ea typeface="Muli"/>
                <a:cs typeface="Muli"/>
                <a:sym typeface="Muli"/>
              </a:rPr>
              <a:t>:</a:t>
            </a:r>
          </a:p>
          <a:p>
            <a:r>
              <a:rPr lang="en" sz="1400" b="1" dirty="0" smtClean="0">
                <a:solidFill>
                  <a:srgbClr val="FFFFFF"/>
                </a:solidFill>
                <a:latin typeface="Aleo Regular"/>
                <a:ea typeface="Muli"/>
                <a:cs typeface="Muli"/>
                <a:sym typeface="Muli"/>
              </a:rPr>
              <a:t>9,918 </a:t>
            </a:r>
            <a:r>
              <a:rPr lang="en" sz="1400" b="1" dirty="0">
                <a:solidFill>
                  <a:srgbClr val="FFFFFF"/>
                </a:solidFill>
                <a:latin typeface="Aleo Regular"/>
                <a:ea typeface="Muli"/>
                <a:cs typeface="Muli"/>
                <a:sym typeface="Muli"/>
              </a:rPr>
              <a:t>Ton</a:t>
            </a:r>
          </a:p>
        </p:txBody>
      </p:sp>
      <p:sp>
        <p:nvSpPr>
          <p:cNvPr id="18" name="Shape 632"/>
          <p:cNvSpPr/>
          <p:nvPr/>
        </p:nvSpPr>
        <p:spPr>
          <a:xfrm>
            <a:off x="7357403" y="2635480"/>
            <a:ext cx="1295665" cy="606277"/>
          </a:xfrm>
          <a:prstGeom prst="wedgeRectCallout">
            <a:avLst>
              <a:gd name="adj1" fmla="val -21428"/>
              <a:gd name="adj2" fmla="val 84287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r>
              <a:rPr lang="en" sz="1400" b="1" dirty="0">
                <a:solidFill>
                  <a:srgbClr val="FFFFFF"/>
                </a:solidFill>
                <a:latin typeface="Aleo Regular"/>
                <a:ea typeface="Muli"/>
                <a:cs typeface="Muli"/>
                <a:sym typeface="Muli"/>
              </a:rPr>
              <a:t>INDIA: 2,751.84 Ton</a:t>
            </a:r>
          </a:p>
        </p:txBody>
      </p:sp>
      <p:sp>
        <p:nvSpPr>
          <p:cNvPr id="19" name="Shape 632"/>
          <p:cNvSpPr/>
          <p:nvPr/>
        </p:nvSpPr>
        <p:spPr>
          <a:xfrm>
            <a:off x="9028168" y="3532376"/>
            <a:ext cx="1311585" cy="763792"/>
          </a:xfrm>
          <a:prstGeom prst="wedgeRectCallout">
            <a:avLst>
              <a:gd name="adj1" fmla="val -51548"/>
              <a:gd name="adj2" fmla="val -71313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r>
              <a:rPr lang="en" sz="1400" b="1" dirty="0">
                <a:solidFill>
                  <a:srgbClr val="FFFFFF"/>
                </a:solidFill>
                <a:latin typeface="Aleo Regular"/>
                <a:ea typeface="Muli"/>
                <a:cs typeface="Muli"/>
                <a:sym typeface="Muli"/>
              </a:rPr>
              <a:t>CHINA: 7,253.01 Ton</a:t>
            </a:r>
          </a:p>
        </p:txBody>
      </p:sp>
      <p:sp>
        <p:nvSpPr>
          <p:cNvPr id="20" name="Shape 632"/>
          <p:cNvSpPr/>
          <p:nvPr/>
        </p:nvSpPr>
        <p:spPr>
          <a:xfrm>
            <a:off x="9774707" y="2332469"/>
            <a:ext cx="1340966" cy="634675"/>
          </a:xfrm>
          <a:prstGeom prst="wedgeRectCallout">
            <a:avLst>
              <a:gd name="adj1" fmla="val -60816"/>
              <a:gd name="adj2" fmla="val 81736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r>
              <a:rPr lang="en" sz="1400" b="1" dirty="0">
                <a:solidFill>
                  <a:srgbClr val="FFFFFF"/>
                </a:solidFill>
                <a:latin typeface="Aleo Regular"/>
                <a:ea typeface="Muli"/>
                <a:cs typeface="Muli"/>
                <a:sym typeface="Muli"/>
              </a:rPr>
              <a:t>JAPAN: 2,741.76 Ton</a:t>
            </a:r>
          </a:p>
        </p:txBody>
      </p:sp>
      <p:sp>
        <p:nvSpPr>
          <p:cNvPr id="21" name="Shape 632"/>
          <p:cNvSpPr/>
          <p:nvPr/>
        </p:nvSpPr>
        <p:spPr>
          <a:xfrm>
            <a:off x="8270792" y="1466770"/>
            <a:ext cx="1514754" cy="703603"/>
          </a:xfrm>
          <a:prstGeom prst="wedgeRectCallout">
            <a:avLst>
              <a:gd name="adj1" fmla="val -61363"/>
              <a:gd name="adj2" fmla="val 28304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r>
              <a:rPr lang="en" sz="1400" b="1" dirty="0">
                <a:solidFill>
                  <a:srgbClr val="FFFFFF"/>
                </a:solidFill>
                <a:latin typeface="Aleo Regular"/>
                <a:ea typeface="Muli"/>
                <a:cs typeface="Muli"/>
                <a:sym typeface="Muli"/>
              </a:rPr>
              <a:t>RUSSIA: 1,411.66 Ton</a:t>
            </a:r>
          </a:p>
        </p:txBody>
      </p:sp>
      <p:pic>
        <p:nvPicPr>
          <p:cNvPr id="22" name="Imagen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877" y="4752304"/>
            <a:ext cx="3258089" cy="2096761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1380298" y="5103539"/>
            <a:ext cx="185203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leo Regular"/>
              </a:rPr>
              <a:t> </a:t>
            </a:r>
            <a:r>
              <a:rPr lang="en-US" dirty="0">
                <a:ln w="0"/>
                <a:solidFill>
                  <a:schemeClr val="bg2">
                    <a:lumMod val="2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leo Regular"/>
              </a:rPr>
              <a:t>En el 2017 </a:t>
            </a:r>
            <a:r>
              <a:rPr lang="es-MX" dirty="0">
                <a:ln w="0"/>
                <a:solidFill>
                  <a:schemeClr val="bg2">
                    <a:lumMod val="2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leo Regular"/>
              </a:rPr>
              <a:t>aumentará</a:t>
            </a:r>
          </a:p>
          <a:p>
            <a:pPr algn="ctr"/>
            <a:r>
              <a:rPr lang="en-US" dirty="0">
                <a:ln w="0"/>
                <a:solidFill>
                  <a:schemeClr val="bg2">
                    <a:lumMod val="2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leo Regular"/>
              </a:rPr>
              <a:t>33%</a:t>
            </a:r>
            <a:endParaRPr lang="es-ES" b="1" dirty="0">
              <a:ln w="0"/>
              <a:solidFill>
                <a:schemeClr val="bg2">
                  <a:lumMod val="25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leo Regular"/>
            </a:endParaRPr>
          </a:p>
        </p:txBody>
      </p:sp>
      <p:sp>
        <p:nvSpPr>
          <p:cNvPr id="24" name="CuadroTexto 23"/>
          <p:cNvSpPr txBox="1"/>
          <p:nvPr/>
        </p:nvSpPr>
        <p:spPr>
          <a:xfrm>
            <a:off x="3778859" y="5928291"/>
            <a:ext cx="58150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dirty="0">
                <a:solidFill>
                  <a:schemeClr val="bg2">
                    <a:lumMod val="25000"/>
                  </a:schemeClr>
                </a:solidFill>
                <a:latin typeface="Aleo Regular"/>
              </a:rPr>
              <a:t>Refrigeradores, televisores, celulares y otros desperdicios pesarán más que el equivalente a 200 edificios del tamaño del </a:t>
            </a:r>
            <a:r>
              <a:rPr lang="es-ES" sz="1400" dirty="0" err="1">
                <a:solidFill>
                  <a:schemeClr val="bg2">
                    <a:lumMod val="25000"/>
                  </a:schemeClr>
                </a:solidFill>
                <a:latin typeface="Aleo Regular"/>
              </a:rPr>
              <a:t>Empires</a:t>
            </a:r>
            <a:r>
              <a:rPr lang="es-ES" sz="1400" dirty="0">
                <a:solidFill>
                  <a:schemeClr val="bg2">
                    <a:lumMod val="25000"/>
                  </a:schemeClr>
                </a:solidFill>
                <a:latin typeface="Aleo Regular"/>
              </a:rPr>
              <a:t> </a:t>
            </a:r>
            <a:r>
              <a:rPr lang="es-ES" sz="1400" dirty="0" err="1" smtClean="0">
                <a:solidFill>
                  <a:schemeClr val="bg2">
                    <a:lumMod val="25000"/>
                  </a:schemeClr>
                </a:solidFill>
                <a:latin typeface="Aleo Regular"/>
              </a:rPr>
              <a:t>State</a:t>
            </a:r>
            <a:r>
              <a:rPr lang="es-ES" sz="1400" dirty="0" smtClean="0">
                <a:solidFill>
                  <a:schemeClr val="bg2">
                    <a:lumMod val="25000"/>
                  </a:schemeClr>
                </a:solidFill>
                <a:latin typeface="Aleo Regular"/>
              </a:rPr>
              <a:t>.</a:t>
            </a:r>
            <a:endParaRPr lang="en-US" sz="1400" dirty="0">
              <a:solidFill>
                <a:schemeClr val="bg2">
                  <a:lumMod val="25000"/>
                </a:schemeClr>
              </a:solidFill>
              <a:latin typeface="Aleo Regular"/>
            </a:endParaRPr>
          </a:p>
        </p:txBody>
      </p:sp>
      <p:cxnSp>
        <p:nvCxnSpPr>
          <p:cNvPr id="23" name="Straight Connector 5"/>
          <p:cNvCxnSpPr/>
          <p:nvPr/>
        </p:nvCxnSpPr>
        <p:spPr>
          <a:xfrm>
            <a:off x="1482299" y="1393253"/>
            <a:ext cx="8696611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0367658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699"/>
            <a:ext cx="12192000" cy="6858000"/>
          </a:xfrm>
          <a:prstGeom prst="rect">
            <a:avLst/>
          </a:prstGeom>
        </p:spPr>
      </p:pic>
      <p:sp>
        <p:nvSpPr>
          <p:cNvPr id="178" name="Shape 178"/>
          <p:cNvSpPr txBox="1">
            <a:spLocks noGrp="1"/>
          </p:cNvSpPr>
          <p:nvPr>
            <p:ph type="title" idx="4294967295"/>
          </p:nvPr>
        </p:nvSpPr>
        <p:spPr>
          <a:xfrm>
            <a:off x="0" y="1948501"/>
            <a:ext cx="5979199" cy="2960799"/>
          </a:xfrm>
          <a:prstGeom prst="rect">
            <a:avLst/>
          </a:prstGeom>
          <a:solidFill>
            <a:srgbClr val="00B2FF">
              <a:alpha val="73330"/>
            </a:srgbClr>
          </a:solidFill>
        </p:spPr>
        <p:txBody>
          <a:bodyPr vert="horz" lIns="121900" tIns="121900" rIns="121900" bIns="121900" rtlCol="0" anchor="ctr" anchorCtr="0">
            <a:noAutofit/>
          </a:bodyPr>
          <a:lstStyle/>
          <a:p>
            <a:pPr lvl="0" algn="ctr"/>
            <a:r>
              <a:rPr lang="es-ES" sz="3200" dirty="0">
                <a:solidFill>
                  <a:schemeClr val="bg1"/>
                </a:solidFill>
                <a:latin typeface="Aleo Regular"/>
              </a:rPr>
              <a:t>Y el problema continua…</a:t>
            </a:r>
            <a:endParaRPr lang="en-US" sz="3200" dirty="0">
              <a:solidFill>
                <a:schemeClr val="bg1"/>
              </a:solidFill>
              <a:latin typeface="Aleo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97054177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/>
          <p:cNvSpPr/>
          <p:nvPr/>
        </p:nvSpPr>
        <p:spPr>
          <a:xfrm>
            <a:off x="1781050" y="657965"/>
            <a:ext cx="87264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2800" b="1" dirty="0" smtClean="0">
                <a:latin typeface="Aleo Regular"/>
                <a:sym typeface="Aleo Regular" charset="0"/>
              </a:rPr>
              <a:t>Basura electrónica… </a:t>
            </a:r>
            <a:r>
              <a:rPr lang="es-MX" sz="2800" b="1" dirty="0" smtClean="0">
                <a:solidFill>
                  <a:srgbClr val="00B0F0"/>
                </a:solidFill>
                <a:latin typeface="Aleo Regular"/>
                <a:sym typeface="Aleo Regular" charset="0"/>
              </a:rPr>
              <a:t>la otra cara de la tecnología.</a:t>
            </a:r>
            <a:endParaRPr lang="es-MX" sz="2800" dirty="0">
              <a:solidFill>
                <a:srgbClr val="00B0F0"/>
              </a:solidFill>
              <a:latin typeface="Aleo Regular"/>
            </a:endParaRPr>
          </a:p>
        </p:txBody>
      </p:sp>
      <p:grpSp>
        <p:nvGrpSpPr>
          <p:cNvPr id="9" name="Grupo 8"/>
          <p:cNvGrpSpPr/>
          <p:nvPr/>
        </p:nvGrpSpPr>
        <p:grpSpPr>
          <a:xfrm>
            <a:off x="798489" y="919575"/>
            <a:ext cx="11213206" cy="5921948"/>
            <a:chOff x="1291475" y="1472192"/>
            <a:chExt cx="10061152" cy="5133241"/>
          </a:xfrm>
        </p:grpSpPr>
        <p:pic>
          <p:nvPicPr>
            <p:cNvPr id="2" name="Imagen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91475" y="1472192"/>
              <a:ext cx="10061152" cy="5133241"/>
            </a:xfrm>
            <a:prstGeom prst="rect">
              <a:avLst/>
            </a:prstGeom>
          </p:spPr>
        </p:pic>
        <p:sp>
          <p:nvSpPr>
            <p:cNvPr id="8" name="CuadroTexto 7"/>
            <p:cNvSpPr txBox="1"/>
            <p:nvPr/>
          </p:nvSpPr>
          <p:spPr>
            <a:xfrm>
              <a:off x="5008100" y="3235570"/>
              <a:ext cx="2011680" cy="276999"/>
            </a:xfrm>
            <a:prstGeom prst="rect">
              <a:avLst/>
            </a:prstGeom>
            <a:solidFill>
              <a:srgbClr val="F3F3F3"/>
            </a:solidFill>
          </p:spPr>
          <p:txBody>
            <a:bodyPr wrap="square" rtlCol="0">
              <a:spAutoFit/>
            </a:bodyPr>
            <a:lstStyle/>
            <a:p>
              <a:r>
                <a:rPr lang="es-MX" sz="1200" dirty="0" smtClean="0"/>
                <a:t>Se comercializaron en 2013</a:t>
              </a:r>
              <a:endParaRPr lang="es-MX" sz="1200" dirty="0"/>
            </a:p>
          </p:txBody>
        </p:sp>
      </p:grpSp>
      <p:cxnSp>
        <p:nvCxnSpPr>
          <p:cNvPr id="10" name="Straight Connector 5"/>
          <p:cNvCxnSpPr/>
          <p:nvPr/>
        </p:nvCxnSpPr>
        <p:spPr>
          <a:xfrm>
            <a:off x="1675484" y="1290221"/>
            <a:ext cx="8696611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3513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Shape 178"/>
          <p:cNvSpPr txBox="1">
            <a:spLocks noGrp="1"/>
          </p:cNvSpPr>
          <p:nvPr>
            <p:ph type="title" idx="4294967295"/>
          </p:nvPr>
        </p:nvSpPr>
        <p:spPr>
          <a:xfrm>
            <a:off x="1" y="1948501"/>
            <a:ext cx="5979199" cy="2960799"/>
          </a:xfrm>
          <a:prstGeom prst="rect">
            <a:avLst/>
          </a:prstGeom>
          <a:solidFill>
            <a:srgbClr val="00B2FF">
              <a:alpha val="73330"/>
            </a:srgbClr>
          </a:solidFill>
        </p:spPr>
        <p:txBody>
          <a:bodyPr vert="horz" lIns="121900" tIns="121900" rIns="121900" bIns="121900" rtlCol="0" anchor="ctr" anchorCtr="0">
            <a:noAutofit/>
          </a:bodyPr>
          <a:lstStyle/>
          <a:p>
            <a:pPr lvl="0" algn="ctr"/>
            <a:r>
              <a:rPr lang="es-ES" sz="3200" dirty="0" smtClean="0">
                <a:solidFill>
                  <a:schemeClr val="bg1"/>
                </a:solidFill>
                <a:latin typeface="Aleo Regular"/>
              </a:rPr>
              <a:t>Nuestra solución es…</a:t>
            </a:r>
            <a:endParaRPr lang="en-US" sz="3200" dirty="0">
              <a:solidFill>
                <a:schemeClr val="bg1"/>
              </a:solidFill>
              <a:latin typeface="Aleo Regular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2865" y="2124221"/>
            <a:ext cx="4194125" cy="2328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069659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4600401" y="670844"/>
            <a:ext cx="31406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2800" b="1" dirty="0" smtClean="0">
                <a:solidFill>
                  <a:schemeClr val="bg2">
                    <a:lumMod val="50000"/>
                  </a:schemeClr>
                </a:solidFill>
                <a:latin typeface="Aleo Regular"/>
                <a:sym typeface="Aleo Regular" charset="0"/>
              </a:rPr>
              <a:t>Nuestra</a:t>
            </a:r>
            <a:r>
              <a:rPr lang="es-MX" sz="2800" b="1" dirty="0" smtClean="0">
                <a:latin typeface="Aleo Regular"/>
                <a:sym typeface="Aleo Regular" charset="0"/>
              </a:rPr>
              <a:t> </a:t>
            </a:r>
            <a:r>
              <a:rPr lang="es-MX" sz="2800" b="1" dirty="0" smtClean="0">
                <a:solidFill>
                  <a:srgbClr val="2DD1E7"/>
                </a:solidFill>
                <a:latin typeface="Aleo Regular"/>
                <a:sym typeface="Aleo Regular" charset="0"/>
              </a:rPr>
              <a:t>Solución</a:t>
            </a:r>
            <a:endParaRPr lang="es-MX" sz="2800" dirty="0">
              <a:solidFill>
                <a:srgbClr val="2DD1E7"/>
              </a:solidFill>
              <a:latin typeface="Aleo Regular"/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47" y="1731594"/>
            <a:ext cx="4396444" cy="3022903"/>
          </a:xfrm>
          <a:prstGeom prst="rect">
            <a:avLst/>
          </a:prstGeom>
        </p:spPr>
      </p:pic>
      <p:grpSp>
        <p:nvGrpSpPr>
          <p:cNvPr id="31" name="Grupo 30"/>
          <p:cNvGrpSpPr/>
          <p:nvPr/>
        </p:nvGrpSpPr>
        <p:grpSpPr>
          <a:xfrm>
            <a:off x="4574700" y="1877968"/>
            <a:ext cx="3636499" cy="2588343"/>
            <a:chOff x="4986996" y="2150571"/>
            <a:chExt cx="3636499" cy="2588343"/>
          </a:xfrm>
        </p:grpSpPr>
        <p:grpSp>
          <p:nvGrpSpPr>
            <p:cNvPr id="9" name="Grupo 8"/>
            <p:cNvGrpSpPr/>
            <p:nvPr/>
          </p:nvGrpSpPr>
          <p:grpSpPr>
            <a:xfrm>
              <a:off x="5008098" y="2166425"/>
              <a:ext cx="295422" cy="253218"/>
              <a:chOff x="5008098" y="2166425"/>
              <a:chExt cx="295422" cy="253218"/>
            </a:xfrm>
          </p:grpSpPr>
          <p:sp>
            <p:nvSpPr>
              <p:cNvPr id="7" name="Elipse 6"/>
              <p:cNvSpPr/>
              <p:nvPr/>
            </p:nvSpPr>
            <p:spPr>
              <a:xfrm>
                <a:off x="5008098" y="2166425"/>
                <a:ext cx="295422" cy="25321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sp>
            <p:nvSpPr>
              <p:cNvPr id="8" name="Elipse 7"/>
              <p:cNvSpPr/>
              <p:nvPr/>
            </p:nvSpPr>
            <p:spPr>
              <a:xfrm>
                <a:off x="5106572" y="2236763"/>
                <a:ext cx="98474" cy="98474"/>
              </a:xfrm>
              <a:prstGeom prst="ellipse">
                <a:avLst/>
              </a:prstGeom>
              <a:solidFill>
                <a:srgbClr val="2DD1E7"/>
              </a:solidFill>
              <a:ln>
                <a:solidFill>
                  <a:srgbClr val="33CC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</p:grpSp>
        <p:grpSp>
          <p:nvGrpSpPr>
            <p:cNvPr id="10" name="Grupo 9"/>
            <p:cNvGrpSpPr/>
            <p:nvPr/>
          </p:nvGrpSpPr>
          <p:grpSpPr>
            <a:xfrm>
              <a:off x="4991684" y="2572046"/>
              <a:ext cx="295422" cy="253218"/>
              <a:chOff x="5008098" y="2166425"/>
              <a:chExt cx="295422" cy="253218"/>
            </a:xfrm>
          </p:grpSpPr>
          <p:sp>
            <p:nvSpPr>
              <p:cNvPr id="11" name="Elipse 10"/>
              <p:cNvSpPr/>
              <p:nvPr/>
            </p:nvSpPr>
            <p:spPr>
              <a:xfrm>
                <a:off x="5008098" y="2166425"/>
                <a:ext cx="295422" cy="25321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sp>
            <p:nvSpPr>
              <p:cNvPr id="12" name="Elipse 11"/>
              <p:cNvSpPr/>
              <p:nvPr/>
            </p:nvSpPr>
            <p:spPr>
              <a:xfrm>
                <a:off x="5106572" y="2236763"/>
                <a:ext cx="98474" cy="98474"/>
              </a:xfrm>
              <a:prstGeom prst="ellipse">
                <a:avLst/>
              </a:prstGeom>
              <a:solidFill>
                <a:srgbClr val="2DD1E7"/>
              </a:solidFill>
              <a:ln>
                <a:solidFill>
                  <a:srgbClr val="33CC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</p:grpSp>
        <p:sp>
          <p:nvSpPr>
            <p:cNvPr id="22" name="CuadroTexto 21"/>
            <p:cNvSpPr txBox="1"/>
            <p:nvPr/>
          </p:nvSpPr>
          <p:spPr>
            <a:xfrm>
              <a:off x="5338426" y="2150571"/>
              <a:ext cx="308812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dirty="0" smtClean="0">
                  <a:solidFill>
                    <a:schemeClr val="bg2">
                      <a:lumMod val="50000"/>
                    </a:schemeClr>
                  </a:solidFill>
                </a:rPr>
                <a:t>Polímero conductor 110 Volts</a:t>
              </a:r>
              <a:endParaRPr lang="es-MX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3" name="CuadroTexto 22"/>
            <p:cNvSpPr txBox="1"/>
            <p:nvPr/>
          </p:nvSpPr>
          <p:spPr>
            <a:xfrm>
              <a:off x="5331654" y="2515774"/>
              <a:ext cx="236714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dirty="0" smtClean="0">
                  <a:solidFill>
                    <a:schemeClr val="bg2">
                      <a:lumMod val="50000"/>
                    </a:schemeClr>
                  </a:solidFill>
                </a:rPr>
                <a:t>No se oxida</a:t>
              </a:r>
              <a:endParaRPr lang="es-MX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grpSp>
          <p:nvGrpSpPr>
            <p:cNvPr id="24" name="Grupo 23"/>
            <p:cNvGrpSpPr/>
            <p:nvPr/>
          </p:nvGrpSpPr>
          <p:grpSpPr>
            <a:xfrm>
              <a:off x="4989341" y="3019866"/>
              <a:ext cx="295422" cy="253218"/>
              <a:chOff x="5008098" y="2166425"/>
              <a:chExt cx="295422" cy="253218"/>
            </a:xfrm>
          </p:grpSpPr>
          <p:sp>
            <p:nvSpPr>
              <p:cNvPr id="25" name="Elipse 24"/>
              <p:cNvSpPr/>
              <p:nvPr/>
            </p:nvSpPr>
            <p:spPr>
              <a:xfrm>
                <a:off x="5008098" y="2166425"/>
                <a:ext cx="295422" cy="25321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sp>
            <p:nvSpPr>
              <p:cNvPr id="26" name="Elipse 25"/>
              <p:cNvSpPr/>
              <p:nvPr/>
            </p:nvSpPr>
            <p:spPr>
              <a:xfrm>
                <a:off x="5106572" y="2236763"/>
                <a:ext cx="98474" cy="98474"/>
              </a:xfrm>
              <a:prstGeom prst="ellipse">
                <a:avLst/>
              </a:prstGeom>
              <a:solidFill>
                <a:srgbClr val="2DD1E7"/>
              </a:solidFill>
              <a:ln>
                <a:solidFill>
                  <a:srgbClr val="33CC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</p:grpSp>
        <p:sp>
          <p:nvSpPr>
            <p:cNvPr id="27" name="CuadroTexto 26"/>
            <p:cNvSpPr txBox="1"/>
            <p:nvPr/>
          </p:nvSpPr>
          <p:spPr>
            <a:xfrm>
              <a:off x="5303520" y="2955447"/>
              <a:ext cx="25884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dirty="0" smtClean="0">
                  <a:solidFill>
                    <a:schemeClr val="bg2">
                      <a:lumMod val="50000"/>
                    </a:schemeClr>
                  </a:solidFill>
                </a:rPr>
                <a:t>Degradable de 3 a 5 años</a:t>
              </a:r>
              <a:endParaRPr lang="es-MX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grpSp>
          <p:nvGrpSpPr>
            <p:cNvPr id="28" name="Grupo 27"/>
            <p:cNvGrpSpPr/>
            <p:nvPr/>
          </p:nvGrpSpPr>
          <p:grpSpPr>
            <a:xfrm>
              <a:off x="4989341" y="3470030"/>
              <a:ext cx="295422" cy="253218"/>
              <a:chOff x="5008098" y="2166425"/>
              <a:chExt cx="295422" cy="253218"/>
            </a:xfrm>
          </p:grpSpPr>
          <p:sp>
            <p:nvSpPr>
              <p:cNvPr id="29" name="Elipse 28"/>
              <p:cNvSpPr/>
              <p:nvPr/>
            </p:nvSpPr>
            <p:spPr>
              <a:xfrm>
                <a:off x="5008098" y="2166425"/>
                <a:ext cx="295422" cy="25321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sp>
            <p:nvSpPr>
              <p:cNvPr id="30" name="Elipse 29"/>
              <p:cNvSpPr/>
              <p:nvPr/>
            </p:nvSpPr>
            <p:spPr>
              <a:xfrm>
                <a:off x="5106572" y="2236763"/>
                <a:ext cx="98474" cy="98474"/>
              </a:xfrm>
              <a:prstGeom prst="ellipse">
                <a:avLst/>
              </a:prstGeom>
              <a:solidFill>
                <a:srgbClr val="2DD1E7"/>
              </a:solidFill>
              <a:ln>
                <a:solidFill>
                  <a:srgbClr val="33CC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</p:grpSp>
        <p:sp>
          <p:nvSpPr>
            <p:cNvPr id="34" name="CuadroTexto 33"/>
            <p:cNvSpPr txBox="1"/>
            <p:nvPr/>
          </p:nvSpPr>
          <p:spPr>
            <a:xfrm>
              <a:off x="5315242" y="3361064"/>
              <a:ext cx="330825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dirty="0" smtClean="0">
                  <a:solidFill>
                    <a:schemeClr val="bg2">
                      <a:lumMod val="50000"/>
                    </a:schemeClr>
                  </a:solidFill>
                </a:rPr>
                <a:t>Reducción de costo de producción estimado de 80%</a:t>
              </a:r>
              <a:endParaRPr lang="es-MX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grpSp>
          <p:nvGrpSpPr>
            <p:cNvPr id="38" name="Grupo 37"/>
            <p:cNvGrpSpPr/>
            <p:nvPr/>
          </p:nvGrpSpPr>
          <p:grpSpPr>
            <a:xfrm>
              <a:off x="4986996" y="4157000"/>
              <a:ext cx="295422" cy="253218"/>
              <a:chOff x="5008098" y="2166425"/>
              <a:chExt cx="295422" cy="253218"/>
            </a:xfrm>
          </p:grpSpPr>
          <p:sp>
            <p:nvSpPr>
              <p:cNvPr id="39" name="Elipse 38"/>
              <p:cNvSpPr/>
              <p:nvPr/>
            </p:nvSpPr>
            <p:spPr>
              <a:xfrm>
                <a:off x="5008098" y="2166425"/>
                <a:ext cx="295422" cy="25321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sp>
            <p:nvSpPr>
              <p:cNvPr id="40" name="Elipse 39"/>
              <p:cNvSpPr/>
              <p:nvPr/>
            </p:nvSpPr>
            <p:spPr>
              <a:xfrm>
                <a:off x="5106572" y="2236763"/>
                <a:ext cx="98474" cy="98474"/>
              </a:xfrm>
              <a:prstGeom prst="ellipse">
                <a:avLst/>
              </a:prstGeom>
              <a:solidFill>
                <a:srgbClr val="2DD1E7"/>
              </a:solidFill>
              <a:ln>
                <a:solidFill>
                  <a:srgbClr val="33CC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</p:grpSp>
        <p:sp>
          <p:nvSpPr>
            <p:cNvPr id="41" name="CuadroTexto 40"/>
            <p:cNvSpPr txBox="1"/>
            <p:nvPr/>
          </p:nvSpPr>
          <p:spPr>
            <a:xfrm>
              <a:off x="5287109" y="4092583"/>
              <a:ext cx="333638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dirty="0" smtClean="0">
                  <a:solidFill>
                    <a:schemeClr val="bg2">
                      <a:lumMod val="50000"/>
                    </a:schemeClr>
                  </a:solidFill>
                </a:rPr>
                <a:t>Maleable, ligero, presentación en forma semiflexible.</a:t>
              </a:r>
              <a:endParaRPr lang="es-MX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</p:grpSp>
      <p:grpSp>
        <p:nvGrpSpPr>
          <p:cNvPr id="6" name="Grupo 5"/>
          <p:cNvGrpSpPr/>
          <p:nvPr/>
        </p:nvGrpSpPr>
        <p:grpSpPr>
          <a:xfrm>
            <a:off x="8442130" y="1335368"/>
            <a:ext cx="3749870" cy="3768580"/>
            <a:chOff x="8508609" y="1475012"/>
            <a:chExt cx="3749870" cy="3768580"/>
          </a:xfrm>
        </p:grpSpPr>
        <p:grpSp>
          <p:nvGrpSpPr>
            <p:cNvPr id="13" name="Grupo 12"/>
            <p:cNvGrpSpPr/>
            <p:nvPr/>
          </p:nvGrpSpPr>
          <p:grpSpPr>
            <a:xfrm>
              <a:off x="8508609" y="1744388"/>
              <a:ext cx="3749870" cy="3499204"/>
              <a:chOff x="222416" y="2100091"/>
              <a:chExt cx="4244584" cy="3748418"/>
            </a:xfrm>
          </p:grpSpPr>
          <p:grpSp>
            <p:nvGrpSpPr>
              <p:cNvPr id="14" name="Grupo 13"/>
              <p:cNvGrpSpPr/>
              <p:nvPr/>
            </p:nvGrpSpPr>
            <p:grpSpPr>
              <a:xfrm>
                <a:off x="1384245" y="2100091"/>
                <a:ext cx="3082755" cy="3748418"/>
                <a:chOff x="2439592" y="1675088"/>
                <a:chExt cx="3082755" cy="3748418"/>
              </a:xfrm>
            </p:grpSpPr>
            <p:pic>
              <p:nvPicPr>
                <p:cNvPr id="16" name="Marcador de contenido 8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3353" b="97038" l="49" r="100000">
                              <a14:backgroundMark x1="28320" y1="52148" x2="43726" y2="52148"/>
                              <a14:backgroundMark x1="31201" y1="48242" x2="37964" y2="46289"/>
                            </a14:backgroundRemoval>
                          </a14:imgEffect>
                          <a14:imgEffect>
                            <a14:brightnessContrast bright="4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6200000" flipV="1">
                  <a:off x="2106761" y="2007919"/>
                  <a:ext cx="3748418" cy="3082755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grpSp>
              <p:nvGrpSpPr>
                <p:cNvPr id="17" name="Grupo 16"/>
                <p:cNvGrpSpPr/>
                <p:nvPr/>
              </p:nvGrpSpPr>
              <p:grpSpPr>
                <a:xfrm>
                  <a:off x="2868609" y="2884868"/>
                  <a:ext cx="576580" cy="2034656"/>
                  <a:chOff x="327546" y="2130776"/>
                  <a:chExt cx="576580" cy="1626694"/>
                </a:xfrm>
              </p:grpSpPr>
              <p:cxnSp>
                <p:nvCxnSpPr>
                  <p:cNvPr id="18" name="Conector recto de flecha 17"/>
                  <p:cNvCxnSpPr/>
                  <p:nvPr/>
                </p:nvCxnSpPr>
                <p:spPr>
                  <a:xfrm>
                    <a:off x="339047" y="2130776"/>
                    <a:ext cx="565079" cy="456269"/>
                  </a:xfrm>
                  <a:prstGeom prst="straightConnector1">
                    <a:avLst/>
                  </a:prstGeom>
                  <a:ln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" name="Conector recto de flecha 18"/>
                  <p:cNvCxnSpPr/>
                  <p:nvPr/>
                </p:nvCxnSpPr>
                <p:spPr>
                  <a:xfrm>
                    <a:off x="349321" y="2130776"/>
                    <a:ext cx="549549" cy="843415"/>
                  </a:xfrm>
                  <a:prstGeom prst="straightConnector1">
                    <a:avLst/>
                  </a:prstGeom>
                  <a:ln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" name="Conector recto de flecha 19"/>
                  <p:cNvCxnSpPr/>
                  <p:nvPr/>
                </p:nvCxnSpPr>
                <p:spPr>
                  <a:xfrm>
                    <a:off x="335497" y="2130776"/>
                    <a:ext cx="541895" cy="1290000"/>
                  </a:xfrm>
                  <a:prstGeom prst="straightConnector1">
                    <a:avLst/>
                  </a:prstGeom>
                  <a:ln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" name="Conector recto de flecha 20"/>
                  <p:cNvCxnSpPr/>
                  <p:nvPr/>
                </p:nvCxnSpPr>
                <p:spPr>
                  <a:xfrm>
                    <a:off x="327546" y="2130776"/>
                    <a:ext cx="502957" cy="1626694"/>
                  </a:xfrm>
                  <a:prstGeom prst="straightConnector1">
                    <a:avLst/>
                  </a:prstGeom>
                  <a:ln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15" name="CuadroTexto 14"/>
              <p:cNvSpPr txBox="1"/>
              <p:nvPr/>
            </p:nvSpPr>
            <p:spPr>
              <a:xfrm>
                <a:off x="222416" y="2663540"/>
                <a:ext cx="2170976" cy="9890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MX" dirty="0" smtClean="0">
                    <a:solidFill>
                      <a:schemeClr val="bg2">
                        <a:lumMod val="50000"/>
                      </a:schemeClr>
                    </a:solidFill>
                  </a:rPr>
                  <a:t>Innovamos en material conductor.</a:t>
                </a:r>
                <a:endParaRPr lang="es-MX" dirty="0">
                  <a:solidFill>
                    <a:schemeClr val="bg2">
                      <a:lumMod val="50000"/>
                    </a:schemeClr>
                  </a:solidFill>
                </a:endParaRPr>
              </a:p>
            </p:txBody>
          </p:sp>
        </p:grpSp>
        <p:sp>
          <p:nvSpPr>
            <p:cNvPr id="42" name="CuadroTexto 41"/>
            <p:cNvSpPr txBox="1"/>
            <p:nvPr/>
          </p:nvSpPr>
          <p:spPr>
            <a:xfrm>
              <a:off x="9734732" y="1475012"/>
              <a:ext cx="232404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dirty="0" smtClean="0">
                  <a:solidFill>
                    <a:schemeClr val="bg2">
                      <a:lumMod val="50000"/>
                    </a:schemeClr>
                  </a:solidFill>
                </a:rPr>
                <a:t>Prototipo funcional.</a:t>
              </a:r>
              <a:endParaRPr lang="es-MX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</p:grpSp>
      <p:sp>
        <p:nvSpPr>
          <p:cNvPr id="43" name="CuadroTexto 42"/>
          <p:cNvSpPr txBox="1"/>
          <p:nvPr/>
        </p:nvSpPr>
        <p:spPr>
          <a:xfrm>
            <a:off x="352771" y="5411507"/>
            <a:ext cx="115777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>
                <a:solidFill>
                  <a:schemeClr val="bg2">
                    <a:lumMod val="50000"/>
                  </a:schemeClr>
                </a:solidFill>
              </a:rPr>
              <a:t>Nuestro polímero conductor hasta el momento es funcional con instalaciones eléctricas convencionales (cargar un celular, conectar una computadora, aparatos electrodomésticos, </a:t>
            </a:r>
            <a:r>
              <a:rPr lang="es-MX" dirty="0" smtClean="0">
                <a:solidFill>
                  <a:schemeClr val="bg2">
                    <a:lumMod val="50000"/>
                  </a:schemeClr>
                </a:solidFill>
              </a:rPr>
              <a:t>etc.).</a:t>
            </a:r>
            <a:endParaRPr lang="es-ES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2" name="Rectángulo 31"/>
          <p:cNvSpPr/>
          <p:nvPr/>
        </p:nvSpPr>
        <p:spPr>
          <a:xfrm>
            <a:off x="8271706" y="1779621"/>
            <a:ext cx="82428" cy="2928774"/>
          </a:xfrm>
          <a:prstGeom prst="rect">
            <a:avLst/>
          </a:prstGeom>
          <a:solidFill>
            <a:srgbClr val="33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4" name="Rectángulo 43"/>
          <p:cNvSpPr/>
          <p:nvPr/>
        </p:nvSpPr>
        <p:spPr>
          <a:xfrm rot="5400000">
            <a:off x="5960088" y="-292628"/>
            <a:ext cx="67404" cy="11141365"/>
          </a:xfrm>
          <a:prstGeom prst="rect">
            <a:avLst/>
          </a:prstGeom>
          <a:solidFill>
            <a:srgbClr val="33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cxnSp>
        <p:nvCxnSpPr>
          <p:cNvPr id="45" name="Straight Connector 5"/>
          <p:cNvCxnSpPr/>
          <p:nvPr/>
        </p:nvCxnSpPr>
        <p:spPr>
          <a:xfrm>
            <a:off x="4525977" y="1150603"/>
            <a:ext cx="330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512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190"/>
          <a:stretch/>
        </p:blipFill>
        <p:spPr>
          <a:xfrm>
            <a:off x="9234152" y="0"/>
            <a:ext cx="3691944" cy="4738844"/>
          </a:xfrm>
          <a:prstGeom prst="rect">
            <a:avLst/>
          </a:prstGeom>
        </p:spPr>
      </p:pic>
      <p:sp>
        <p:nvSpPr>
          <p:cNvPr id="3" name="Shape 178"/>
          <p:cNvSpPr txBox="1">
            <a:spLocks/>
          </p:cNvSpPr>
          <p:nvPr/>
        </p:nvSpPr>
        <p:spPr>
          <a:xfrm>
            <a:off x="0" y="1948501"/>
            <a:ext cx="5979199" cy="2960799"/>
          </a:xfrm>
          <a:prstGeom prst="rect">
            <a:avLst/>
          </a:prstGeom>
          <a:solidFill>
            <a:srgbClr val="00B2FF">
              <a:alpha val="73330"/>
            </a:srgbClr>
          </a:solidFill>
        </p:spPr>
        <p:txBody>
          <a:bodyPr vert="horz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" sz="3200" dirty="0" smtClean="0">
                <a:solidFill>
                  <a:schemeClr val="bg1"/>
                </a:solidFill>
                <a:latin typeface="Aleo Regular"/>
              </a:rPr>
              <a:t>Mercado: impresión 3D…</a:t>
            </a:r>
            <a:endParaRPr lang="en-US" sz="3200" dirty="0">
              <a:solidFill>
                <a:schemeClr val="bg1"/>
              </a:solidFill>
              <a:latin typeface="Aleo Regular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17" t="12542" r="15276" b="14122"/>
          <a:stretch/>
        </p:blipFill>
        <p:spPr>
          <a:xfrm>
            <a:off x="5422005" y="2562895"/>
            <a:ext cx="4314423" cy="319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9516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Oval 21"/>
          <p:cNvSpPr/>
          <p:nvPr/>
        </p:nvSpPr>
        <p:spPr>
          <a:xfrm>
            <a:off x="4234631" y="3589357"/>
            <a:ext cx="4712645" cy="941409"/>
          </a:xfrm>
          <a:prstGeom prst="ellipse">
            <a:avLst/>
          </a:prstGeom>
          <a:gradFill flip="none" rotWithShape="1">
            <a:gsLst>
              <a:gs pos="100000">
                <a:srgbClr val="94B9F4">
                  <a:alpha val="0"/>
                </a:srgbClr>
              </a:gs>
              <a:gs pos="0">
                <a:schemeClr val="tx1"/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72F2ED-C0F1-A14B-BA46-C5847C658EB2}" type="slidenum">
              <a:rPr lang="en-US" smtClean="0"/>
              <a:pPr/>
              <a:t>8</a:t>
            </a:fld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4145219" y="1062541"/>
            <a:ext cx="3644121" cy="10788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320180656"/>
              </p:ext>
            </p:extLst>
          </p:nvPr>
        </p:nvGraphicFramePr>
        <p:xfrm>
          <a:off x="3147873" y="1062541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Moon 12"/>
          <p:cNvSpPr/>
          <p:nvPr/>
        </p:nvSpPr>
        <p:spPr>
          <a:xfrm rot="15875716">
            <a:off x="6201682" y="1717002"/>
            <a:ext cx="705236" cy="3650567"/>
          </a:xfrm>
          <a:prstGeom prst="moon">
            <a:avLst>
              <a:gd name="adj" fmla="val 4953"/>
            </a:avLst>
          </a:prstGeom>
          <a:gradFill flip="none" rotWithShape="1">
            <a:gsLst>
              <a:gs pos="0">
                <a:schemeClr val="bg1">
                  <a:alpha val="40000"/>
                </a:schemeClr>
              </a:gs>
              <a:gs pos="9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>
            <a:outerShdw blurRad="152400" sx="104000" sy="104000" algn="ctr" rotWithShape="0">
              <a:schemeClr val="bg1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0" name="Group 29"/>
          <p:cNvGrpSpPr/>
          <p:nvPr/>
        </p:nvGrpSpPr>
        <p:grpSpPr>
          <a:xfrm flipH="1">
            <a:off x="7998017" y="1913277"/>
            <a:ext cx="1963530" cy="294865"/>
            <a:chOff x="850900" y="2453561"/>
            <a:chExt cx="2324100" cy="238839"/>
          </a:xfrm>
          <a:effectLst/>
        </p:grpSpPr>
        <p:cxnSp>
          <p:nvCxnSpPr>
            <p:cNvPr id="25" name="Straight Connector 24"/>
            <p:cNvCxnSpPr/>
            <p:nvPr/>
          </p:nvCxnSpPr>
          <p:spPr>
            <a:xfrm>
              <a:off x="850900" y="2453561"/>
              <a:ext cx="2112440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2963340" y="2453561"/>
              <a:ext cx="211660" cy="238839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extBox 30"/>
          <p:cNvSpPr txBox="1"/>
          <p:nvPr/>
        </p:nvSpPr>
        <p:spPr>
          <a:xfrm>
            <a:off x="8288951" y="1615313"/>
            <a:ext cx="1672596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r>
              <a:rPr lang="en-US" sz="1400" dirty="0" err="1" smtClean="0">
                <a:solidFill>
                  <a:schemeClr val="bg2">
                    <a:lumMod val="50000"/>
                  </a:schemeClr>
                </a:solidFill>
                <a:latin typeface="Aleo Regular"/>
              </a:rPr>
              <a:t>Transporte</a:t>
            </a:r>
            <a:endParaRPr lang="en-US" sz="1400" dirty="0">
              <a:solidFill>
                <a:schemeClr val="bg2">
                  <a:lumMod val="50000"/>
                </a:schemeClr>
              </a:solidFill>
              <a:latin typeface="Aleo Regular"/>
            </a:endParaRPr>
          </a:p>
        </p:txBody>
      </p:sp>
      <p:grpSp>
        <p:nvGrpSpPr>
          <p:cNvPr id="32" name="Group 31"/>
          <p:cNvGrpSpPr/>
          <p:nvPr/>
        </p:nvGrpSpPr>
        <p:grpSpPr>
          <a:xfrm flipV="1">
            <a:off x="2271100" y="4235900"/>
            <a:ext cx="1963530" cy="294865"/>
            <a:chOff x="850900" y="2453561"/>
            <a:chExt cx="2324100" cy="238839"/>
          </a:xfrm>
          <a:effectLst/>
        </p:grpSpPr>
        <p:cxnSp>
          <p:nvCxnSpPr>
            <p:cNvPr id="33" name="Straight Connector 32"/>
            <p:cNvCxnSpPr/>
            <p:nvPr/>
          </p:nvCxnSpPr>
          <p:spPr>
            <a:xfrm>
              <a:off x="850900" y="2453561"/>
              <a:ext cx="2112440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2963340" y="2453561"/>
              <a:ext cx="211660" cy="238839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TextBox 34"/>
          <p:cNvSpPr txBox="1"/>
          <p:nvPr/>
        </p:nvSpPr>
        <p:spPr>
          <a:xfrm>
            <a:off x="2327156" y="4247257"/>
            <a:ext cx="1672596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1400" dirty="0" err="1" smtClean="0">
                <a:solidFill>
                  <a:schemeClr val="bg2">
                    <a:lumMod val="50000"/>
                  </a:schemeClr>
                </a:solidFill>
                <a:latin typeface="Aleo Regular"/>
              </a:rPr>
              <a:t>Arquitectos</a:t>
            </a:r>
            <a:endParaRPr lang="en-US" sz="1200" dirty="0">
              <a:solidFill>
                <a:schemeClr val="bg2">
                  <a:lumMod val="50000"/>
                </a:schemeClr>
              </a:solidFill>
              <a:latin typeface="Aleo Regular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867595" y="5115175"/>
            <a:ext cx="2488505" cy="5374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600"/>
              </a:spcAft>
            </a:pPr>
            <a:r>
              <a:rPr lang="es-ES" sz="1200" dirty="0" smtClean="0">
                <a:solidFill>
                  <a:schemeClr val="bg2">
                    <a:lumMod val="50000"/>
                  </a:schemeClr>
                </a:solidFill>
              </a:rPr>
              <a:t>Segmento </a:t>
            </a:r>
            <a:r>
              <a:rPr lang="es-ES" sz="1200" dirty="0">
                <a:solidFill>
                  <a:schemeClr val="bg2">
                    <a:lumMod val="50000"/>
                  </a:schemeClr>
                </a:solidFill>
              </a:rPr>
              <a:t>de Mercado de impresión </a:t>
            </a:r>
            <a:r>
              <a:rPr lang="es-ES" sz="1200" dirty="0"/>
              <a:t>3D </a:t>
            </a:r>
            <a:r>
              <a:rPr lang="es-ES" sz="1000" dirty="0"/>
              <a:t>en 2015</a:t>
            </a:r>
          </a:p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rPr>
              <a:t>. </a:t>
            </a:r>
            <a:endParaRPr lang="en-US" sz="1000" dirty="0">
              <a:solidFill>
                <a:schemeClr val="tx1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4867946" y="5115175"/>
            <a:ext cx="2488505" cy="5374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es-MX" sz="1200" dirty="0">
                <a:solidFill>
                  <a:schemeClr val="bg2">
                    <a:lumMod val="50000"/>
                  </a:schemeClr>
                </a:solidFill>
              </a:rPr>
              <a:t>En 2015, los ingresos crecieron un adicional de 15,8%. En el año 2015, los ingresos crecieron a una tasa anual promedio de 22,4% a un total de $ 1,7 mil millones.(EUA</a:t>
            </a:r>
            <a:r>
              <a:rPr lang="es-MX" sz="1000" dirty="0">
                <a:solidFill>
                  <a:schemeClr val="bg2">
                    <a:lumMod val="50000"/>
                  </a:schemeClr>
                </a:solidFill>
              </a:rPr>
              <a:t>).</a:t>
            </a:r>
            <a:endParaRPr lang="es-ES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7868297" y="5115175"/>
            <a:ext cx="2488505" cy="5374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200" dirty="0">
                <a:solidFill>
                  <a:schemeClr val="bg2">
                    <a:lumMod val="50000"/>
                  </a:schemeClr>
                </a:solidFill>
              </a:rPr>
              <a:t>Abarque del mercado el primer año es de 0.05%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4612022" y="4994186"/>
            <a:ext cx="0" cy="779463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7612373" y="4994186"/>
            <a:ext cx="0" cy="779463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ángulo 23"/>
          <p:cNvSpPr/>
          <p:nvPr/>
        </p:nvSpPr>
        <p:spPr>
          <a:xfrm>
            <a:off x="3965582" y="451282"/>
            <a:ext cx="55776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2800" b="1" dirty="0" smtClean="0">
                <a:solidFill>
                  <a:schemeClr val="bg2">
                    <a:lumMod val="50000"/>
                  </a:schemeClr>
                </a:solidFill>
                <a:latin typeface="Aleo Regular"/>
                <a:sym typeface="Aleo Regular" charset="0"/>
              </a:rPr>
              <a:t>Segmento </a:t>
            </a:r>
            <a:r>
              <a:rPr lang="es-MX" sz="2800" b="1" dirty="0" smtClean="0">
                <a:latin typeface="Aleo Regular"/>
                <a:sym typeface="Aleo Regular" charset="0"/>
              </a:rPr>
              <a:t> </a:t>
            </a:r>
            <a:r>
              <a:rPr lang="es-MX" sz="2800" b="1" dirty="0" smtClean="0">
                <a:solidFill>
                  <a:srgbClr val="00B0F0"/>
                </a:solidFill>
                <a:latin typeface="Aleo Regular"/>
                <a:sym typeface="Aleo Regular" charset="0"/>
              </a:rPr>
              <a:t>de mercado</a:t>
            </a:r>
            <a:endParaRPr lang="es-MX" sz="2800" dirty="0">
              <a:solidFill>
                <a:srgbClr val="00B0F0"/>
              </a:solidFill>
              <a:latin typeface="Aleo Regular"/>
            </a:endParaRPr>
          </a:p>
        </p:txBody>
      </p:sp>
      <p:grpSp>
        <p:nvGrpSpPr>
          <p:cNvPr id="26" name="Group 31"/>
          <p:cNvGrpSpPr/>
          <p:nvPr/>
        </p:nvGrpSpPr>
        <p:grpSpPr>
          <a:xfrm>
            <a:off x="2740388" y="1765844"/>
            <a:ext cx="1963530" cy="294865"/>
            <a:chOff x="850900" y="2453561"/>
            <a:chExt cx="2324100" cy="238839"/>
          </a:xfrm>
          <a:effectLst/>
        </p:grpSpPr>
        <p:cxnSp>
          <p:nvCxnSpPr>
            <p:cNvPr id="27" name="Straight Connector 32"/>
            <p:cNvCxnSpPr/>
            <p:nvPr/>
          </p:nvCxnSpPr>
          <p:spPr>
            <a:xfrm>
              <a:off x="850900" y="2453561"/>
              <a:ext cx="2112440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33"/>
            <p:cNvCxnSpPr/>
            <p:nvPr/>
          </p:nvCxnSpPr>
          <p:spPr>
            <a:xfrm>
              <a:off x="2963340" y="2453561"/>
              <a:ext cx="211660" cy="238839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4"/>
          <p:cNvSpPr txBox="1"/>
          <p:nvPr/>
        </p:nvSpPr>
        <p:spPr>
          <a:xfrm>
            <a:off x="2542566" y="1266894"/>
            <a:ext cx="1937323" cy="4308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s-ES" sz="1400" dirty="0" smtClean="0">
                <a:solidFill>
                  <a:schemeClr val="bg2">
                    <a:lumMod val="50000"/>
                  </a:schemeClr>
                </a:solidFill>
                <a:latin typeface="Aleo Regular"/>
              </a:rPr>
              <a:t>compañías </a:t>
            </a:r>
            <a:r>
              <a:rPr lang="es-ES" sz="1400" dirty="0">
                <a:solidFill>
                  <a:schemeClr val="bg2">
                    <a:lumMod val="50000"/>
                  </a:schemeClr>
                </a:solidFill>
                <a:latin typeface="Aleo Regular"/>
              </a:rPr>
              <a:t>de productos de consumo</a:t>
            </a:r>
            <a:endParaRPr lang="en-US" sz="1400" dirty="0">
              <a:solidFill>
                <a:schemeClr val="bg2">
                  <a:lumMod val="50000"/>
                </a:schemeClr>
              </a:solidFill>
              <a:latin typeface="Aleo Regular"/>
            </a:endParaRPr>
          </a:p>
        </p:txBody>
      </p:sp>
      <p:grpSp>
        <p:nvGrpSpPr>
          <p:cNvPr id="40" name="Group 29"/>
          <p:cNvGrpSpPr/>
          <p:nvPr/>
        </p:nvGrpSpPr>
        <p:grpSpPr>
          <a:xfrm flipH="1">
            <a:off x="8404682" y="3083898"/>
            <a:ext cx="1963530" cy="294865"/>
            <a:chOff x="850900" y="2453561"/>
            <a:chExt cx="2324100" cy="238839"/>
          </a:xfrm>
          <a:effectLst/>
        </p:grpSpPr>
        <p:cxnSp>
          <p:nvCxnSpPr>
            <p:cNvPr id="43" name="Straight Connector 24"/>
            <p:cNvCxnSpPr/>
            <p:nvPr/>
          </p:nvCxnSpPr>
          <p:spPr>
            <a:xfrm>
              <a:off x="850900" y="2453561"/>
              <a:ext cx="2112440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28"/>
            <p:cNvCxnSpPr/>
            <p:nvPr/>
          </p:nvCxnSpPr>
          <p:spPr>
            <a:xfrm>
              <a:off x="2963340" y="2453561"/>
              <a:ext cx="211660" cy="238839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Box 30"/>
          <p:cNvSpPr txBox="1"/>
          <p:nvPr/>
        </p:nvSpPr>
        <p:spPr>
          <a:xfrm>
            <a:off x="8607607" y="2717311"/>
            <a:ext cx="1672596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r>
              <a:rPr lang="en-US" sz="1400" dirty="0" err="1" smtClean="0">
                <a:solidFill>
                  <a:schemeClr val="bg2">
                    <a:lumMod val="50000"/>
                  </a:schemeClr>
                </a:solidFill>
                <a:latin typeface="Aleo Regular"/>
              </a:rPr>
              <a:t>Salud</a:t>
            </a:r>
            <a:endParaRPr lang="en-US" sz="1400" dirty="0">
              <a:solidFill>
                <a:schemeClr val="bg2">
                  <a:lumMod val="50000"/>
                </a:schemeClr>
              </a:solidFill>
              <a:latin typeface="Aleo Regular"/>
            </a:endParaRPr>
          </a:p>
        </p:txBody>
      </p:sp>
      <p:sp>
        <p:nvSpPr>
          <p:cNvPr id="2" name="CuadroTexto 1"/>
          <p:cNvSpPr txBox="1"/>
          <p:nvPr/>
        </p:nvSpPr>
        <p:spPr>
          <a:xfrm>
            <a:off x="5640778" y="1172460"/>
            <a:ext cx="27444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 smtClean="0">
                <a:solidFill>
                  <a:schemeClr val="bg2">
                    <a:lumMod val="50000"/>
                  </a:schemeClr>
                </a:solidFill>
                <a:latin typeface="Aleo Regular"/>
              </a:rPr>
              <a:t>Impresión 3D</a:t>
            </a:r>
            <a:endParaRPr lang="es-MX" sz="1400" dirty="0">
              <a:solidFill>
                <a:schemeClr val="bg2">
                  <a:lumMod val="50000"/>
                </a:schemeClr>
              </a:solidFill>
              <a:latin typeface="Aleo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59687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6"/>
          <p:cNvSpPr>
            <a:spLocks/>
          </p:cNvSpPr>
          <p:nvPr/>
        </p:nvSpPr>
        <p:spPr bwMode="auto">
          <a:xfrm>
            <a:off x="9131120" y="4833938"/>
            <a:ext cx="3092629" cy="2020888"/>
          </a:xfrm>
          <a:custGeom>
            <a:avLst/>
            <a:gdLst>
              <a:gd name="T0" fmla="*/ 2244 w 2244"/>
              <a:gd name="T1" fmla="*/ 848 h 848"/>
              <a:gd name="T2" fmla="*/ 0 w 2244"/>
              <a:gd name="T3" fmla="*/ 848 h 848"/>
              <a:gd name="T4" fmla="*/ 165 w 2244"/>
              <a:gd name="T5" fmla="*/ 0 h 848"/>
              <a:gd name="T6" fmla="*/ 2244 w 2244"/>
              <a:gd name="T7" fmla="*/ 848 h 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44" h="848">
                <a:moveTo>
                  <a:pt x="2244" y="848"/>
                </a:moveTo>
                <a:cubicBezTo>
                  <a:pt x="0" y="848"/>
                  <a:pt x="0" y="848"/>
                  <a:pt x="0" y="848"/>
                </a:cubicBezTo>
                <a:cubicBezTo>
                  <a:pt x="0" y="548"/>
                  <a:pt x="59" y="262"/>
                  <a:pt x="165" y="0"/>
                </a:cubicBezTo>
                <a:cubicBezTo>
                  <a:pt x="618" y="181"/>
                  <a:pt x="2244" y="848"/>
                  <a:pt x="2244" y="84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88900" dist="38100" dir="13500000" algn="br" rotWithShape="0">
              <a:prstClr val="black">
                <a:alpha val="13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5" name="Freeform 7"/>
          <p:cNvSpPr>
            <a:spLocks/>
          </p:cNvSpPr>
          <p:nvPr/>
        </p:nvSpPr>
        <p:spPr bwMode="auto">
          <a:xfrm>
            <a:off x="8737495" y="4075346"/>
            <a:ext cx="3486255" cy="2779479"/>
          </a:xfrm>
          <a:custGeom>
            <a:avLst/>
            <a:gdLst>
              <a:gd name="T0" fmla="*/ 1844 w 1844"/>
              <a:gd name="T1" fmla="*/ 1416 h 1416"/>
              <a:gd name="T2" fmla="*/ 0 w 1844"/>
              <a:gd name="T3" fmla="*/ 668 h 1416"/>
              <a:gd name="T4" fmla="*/ 446 w 1844"/>
              <a:gd name="T5" fmla="*/ 0 h 1416"/>
              <a:gd name="T6" fmla="*/ 1844 w 1844"/>
              <a:gd name="T7" fmla="*/ 1416 h 14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44" h="1416">
                <a:moveTo>
                  <a:pt x="1844" y="1416"/>
                </a:moveTo>
                <a:cubicBezTo>
                  <a:pt x="1844" y="1416"/>
                  <a:pt x="470" y="875"/>
                  <a:pt x="0" y="668"/>
                </a:cubicBezTo>
                <a:cubicBezTo>
                  <a:pt x="103" y="415"/>
                  <a:pt x="256" y="189"/>
                  <a:pt x="446" y="0"/>
                </a:cubicBezTo>
                <a:cubicBezTo>
                  <a:pt x="788" y="347"/>
                  <a:pt x="1844" y="1416"/>
                  <a:pt x="1844" y="141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outerShdw blurRad="88900" dist="38100" dir="13500000" algn="br" rotWithShape="0">
              <a:prstClr val="black">
                <a:alpha val="13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6" name="Freeform 8"/>
          <p:cNvSpPr>
            <a:spLocks/>
          </p:cNvSpPr>
          <p:nvPr/>
        </p:nvSpPr>
        <p:spPr bwMode="auto">
          <a:xfrm>
            <a:off x="8927824" y="2473640"/>
            <a:ext cx="3295925" cy="4381186"/>
          </a:xfrm>
          <a:custGeom>
            <a:avLst/>
            <a:gdLst>
              <a:gd name="T0" fmla="*/ 1222 w 1222"/>
              <a:gd name="T1" fmla="*/ 1595 h 1595"/>
              <a:gd name="T2" fmla="*/ 0 w 1222"/>
              <a:gd name="T3" fmla="*/ 385 h 1595"/>
              <a:gd name="T4" fmla="*/ 578 w 1222"/>
              <a:gd name="T5" fmla="*/ 0 h 1595"/>
              <a:gd name="T6" fmla="*/ 1222 w 1222"/>
              <a:gd name="T7" fmla="*/ 1595 h 15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22" h="1595">
                <a:moveTo>
                  <a:pt x="1222" y="1595"/>
                </a:moveTo>
                <a:cubicBezTo>
                  <a:pt x="1222" y="1595"/>
                  <a:pt x="442" y="808"/>
                  <a:pt x="0" y="385"/>
                </a:cubicBezTo>
                <a:cubicBezTo>
                  <a:pt x="163" y="220"/>
                  <a:pt x="360" y="88"/>
                  <a:pt x="578" y="0"/>
                </a:cubicBezTo>
                <a:cubicBezTo>
                  <a:pt x="688" y="292"/>
                  <a:pt x="1222" y="1595"/>
                  <a:pt x="1222" y="1595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>
            <a:outerShdw blurRad="88900" dist="38100" dir="13500000" algn="br" rotWithShape="0">
              <a:prstClr val="black">
                <a:alpha val="13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7" name="Freeform 9"/>
          <p:cNvSpPr>
            <a:spLocks/>
          </p:cNvSpPr>
          <p:nvPr/>
        </p:nvSpPr>
        <p:spPr bwMode="auto">
          <a:xfrm>
            <a:off x="10079673" y="1339403"/>
            <a:ext cx="2115077" cy="5502727"/>
          </a:xfrm>
          <a:custGeom>
            <a:avLst/>
            <a:gdLst>
              <a:gd name="T0" fmla="*/ 542 w 542"/>
              <a:gd name="T1" fmla="*/ 0 h 1453"/>
              <a:gd name="T2" fmla="*/ 542 w 542"/>
              <a:gd name="T3" fmla="*/ 1453 h 1453"/>
              <a:gd name="T4" fmla="*/ 0 w 542"/>
              <a:gd name="T5" fmla="*/ 105 h 1453"/>
              <a:gd name="T6" fmla="*/ 542 w 542"/>
              <a:gd name="T7" fmla="*/ 0 h 1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2" h="1453">
                <a:moveTo>
                  <a:pt x="542" y="0"/>
                </a:moveTo>
                <a:cubicBezTo>
                  <a:pt x="542" y="1453"/>
                  <a:pt x="542" y="1453"/>
                  <a:pt x="542" y="1453"/>
                </a:cubicBezTo>
                <a:cubicBezTo>
                  <a:pt x="542" y="1453"/>
                  <a:pt x="320" y="888"/>
                  <a:pt x="0" y="105"/>
                </a:cubicBezTo>
                <a:cubicBezTo>
                  <a:pt x="168" y="38"/>
                  <a:pt x="351" y="0"/>
                  <a:pt x="542" y="0"/>
                </a:cubicBezTo>
                <a:close/>
              </a:path>
            </a:pathLst>
          </a:custGeom>
          <a:solidFill>
            <a:srgbClr val="00B0F0"/>
          </a:solidFill>
          <a:ln>
            <a:noFill/>
          </a:ln>
          <a:effectLst>
            <a:outerShdw blurRad="88900" dist="38100" dir="13500000" algn="br" rotWithShape="0">
              <a:prstClr val="black">
                <a:alpha val="13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8" name="Freeform 10"/>
          <p:cNvSpPr>
            <a:spLocks/>
          </p:cNvSpPr>
          <p:nvPr/>
        </p:nvSpPr>
        <p:spPr bwMode="auto">
          <a:xfrm>
            <a:off x="5861050" y="4210050"/>
            <a:ext cx="6362700" cy="2644775"/>
          </a:xfrm>
          <a:custGeom>
            <a:avLst/>
            <a:gdLst>
              <a:gd name="T0" fmla="*/ 17 w 2669"/>
              <a:gd name="T1" fmla="*/ 0 h 1110"/>
              <a:gd name="T2" fmla="*/ 2669 w 2669"/>
              <a:gd name="T3" fmla="*/ 1099 h 1110"/>
              <a:gd name="T4" fmla="*/ 2669 w 2669"/>
              <a:gd name="T5" fmla="*/ 1110 h 1110"/>
              <a:gd name="T6" fmla="*/ 2583 w 2669"/>
              <a:gd name="T7" fmla="*/ 1110 h 1110"/>
              <a:gd name="T8" fmla="*/ 0 w 2669"/>
              <a:gd name="T9" fmla="*/ 40 h 1110"/>
              <a:gd name="T10" fmla="*/ 17 w 2669"/>
              <a:gd name="T11" fmla="*/ 0 h 1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69" h="1110">
                <a:moveTo>
                  <a:pt x="17" y="0"/>
                </a:moveTo>
                <a:cubicBezTo>
                  <a:pt x="2669" y="1099"/>
                  <a:pt x="2669" y="1099"/>
                  <a:pt x="2669" y="1099"/>
                </a:cubicBezTo>
                <a:cubicBezTo>
                  <a:pt x="2669" y="1110"/>
                  <a:pt x="2669" y="1110"/>
                  <a:pt x="2669" y="1110"/>
                </a:cubicBezTo>
                <a:cubicBezTo>
                  <a:pt x="2583" y="1110"/>
                  <a:pt x="2583" y="1110"/>
                  <a:pt x="2583" y="1110"/>
                </a:cubicBezTo>
                <a:cubicBezTo>
                  <a:pt x="0" y="40"/>
                  <a:pt x="0" y="40"/>
                  <a:pt x="0" y="40"/>
                </a:cubicBezTo>
                <a:cubicBezTo>
                  <a:pt x="6" y="27"/>
                  <a:pt x="11" y="13"/>
                  <a:pt x="1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52400" dist="38100" dir="5400000" algn="t" rotWithShape="0">
              <a:prstClr val="black">
                <a:alpha val="21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9" name="Freeform 11"/>
          <p:cNvSpPr>
            <a:spLocks/>
          </p:cNvSpPr>
          <p:nvPr/>
        </p:nvSpPr>
        <p:spPr bwMode="auto">
          <a:xfrm>
            <a:off x="7343775" y="1973263"/>
            <a:ext cx="4879975" cy="4881563"/>
          </a:xfrm>
          <a:custGeom>
            <a:avLst/>
            <a:gdLst>
              <a:gd name="T0" fmla="*/ 30 w 2047"/>
              <a:gd name="T1" fmla="*/ 0 h 2048"/>
              <a:gd name="T2" fmla="*/ 2047 w 2047"/>
              <a:gd name="T3" fmla="*/ 2017 h 2048"/>
              <a:gd name="T4" fmla="*/ 2047 w 2047"/>
              <a:gd name="T5" fmla="*/ 2048 h 2048"/>
              <a:gd name="T6" fmla="*/ 2017 w 2047"/>
              <a:gd name="T7" fmla="*/ 2048 h 2048"/>
              <a:gd name="T8" fmla="*/ 0 w 2047"/>
              <a:gd name="T9" fmla="*/ 31 h 2048"/>
              <a:gd name="T10" fmla="*/ 30 w 2047"/>
              <a:gd name="T11" fmla="*/ 0 h 2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047" h="2048">
                <a:moveTo>
                  <a:pt x="30" y="0"/>
                </a:moveTo>
                <a:cubicBezTo>
                  <a:pt x="2047" y="2017"/>
                  <a:pt x="2047" y="2017"/>
                  <a:pt x="2047" y="2017"/>
                </a:cubicBezTo>
                <a:cubicBezTo>
                  <a:pt x="2047" y="2048"/>
                  <a:pt x="2047" y="2048"/>
                  <a:pt x="2047" y="2048"/>
                </a:cubicBezTo>
                <a:cubicBezTo>
                  <a:pt x="2017" y="2048"/>
                  <a:pt x="2017" y="2048"/>
                  <a:pt x="2017" y="2048"/>
                </a:cubicBezTo>
                <a:cubicBezTo>
                  <a:pt x="0" y="31"/>
                  <a:pt x="0" y="31"/>
                  <a:pt x="0" y="31"/>
                </a:cubicBezTo>
                <a:cubicBezTo>
                  <a:pt x="10" y="20"/>
                  <a:pt x="20" y="10"/>
                  <a:pt x="3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52400" dist="38100" dir="5400000" algn="t" rotWithShape="0">
              <a:prstClr val="black">
                <a:alpha val="21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3" name="Freeform 12"/>
          <p:cNvSpPr>
            <a:spLocks/>
          </p:cNvSpPr>
          <p:nvPr/>
        </p:nvSpPr>
        <p:spPr bwMode="auto">
          <a:xfrm>
            <a:off x="9578975" y="493713"/>
            <a:ext cx="2644775" cy="6361113"/>
          </a:xfrm>
          <a:custGeom>
            <a:avLst/>
            <a:gdLst>
              <a:gd name="T0" fmla="*/ 40 w 1109"/>
              <a:gd name="T1" fmla="*/ 0 h 2669"/>
              <a:gd name="T2" fmla="*/ 1109 w 1109"/>
              <a:gd name="T3" fmla="*/ 2582 h 2669"/>
              <a:gd name="T4" fmla="*/ 1109 w 1109"/>
              <a:gd name="T5" fmla="*/ 2669 h 2669"/>
              <a:gd name="T6" fmla="*/ 1098 w 1109"/>
              <a:gd name="T7" fmla="*/ 2669 h 2669"/>
              <a:gd name="T8" fmla="*/ 0 w 1109"/>
              <a:gd name="T9" fmla="*/ 17 h 2669"/>
              <a:gd name="T10" fmla="*/ 40 w 1109"/>
              <a:gd name="T11" fmla="*/ 0 h 26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09" h="2669">
                <a:moveTo>
                  <a:pt x="40" y="0"/>
                </a:moveTo>
                <a:cubicBezTo>
                  <a:pt x="1109" y="2582"/>
                  <a:pt x="1109" y="2582"/>
                  <a:pt x="1109" y="2582"/>
                </a:cubicBezTo>
                <a:cubicBezTo>
                  <a:pt x="1109" y="2669"/>
                  <a:pt x="1109" y="2669"/>
                  <a:pt x="1109" y="2669"/>
                </a:cubicBezTo>
                <a:cubicBezTo>
                  <a:pt x="1098" y="2669"/>
                  <a:pt x="1098" y="2669"/>
                  <a:pt x="1098" y="2669"/>
                </a:cubicBezTo>
                <a:cubicBezTo>
                  <a:pt x="0" y="17"/>
                  <a:pt x="0" y="17"/>
                  <a:pt x="0" y="17"/>
                </a:cubicBezTo>
                <a:cubicBezTo>
                  <a:pt x="13" y="11"/>
                  <a:pt x="26" y="5"/>
                  <a:pt x="4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52400" dist="38100" dir="5400000" algn="t" rotWithShape="0">
              <a:prstClr val="black">
                <a:alpha val="21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01" name="Group 100"/>
          <p:cNvGrpSpPr/>
          <p:nvPr/>
        </p:nvGrpSpPr>
        <p:grpSpPr>
          <a:xfrm>
            <a:off x="1894860" y="2473640"/>
            <a:ext cx="277647" cy="276819"/>
            <a:chOff x="2138511" y="2464802"/>
            <a:chExt cx="354012" cy="352956"/>
          </a:xfrm>
          <a:solidFill>
            <a:schemeClr val="accent5"/>
          </a:solidFill>
        </p:grpSpPr>
        <p:sp>
          <p:nvSpPr>
            <p:cNvPr id="102" name="Oval 101"/>
            <p:cNvSpPr>
              <a:spLocks noChangeArrowheads="1"/>
            </p:cNvSpPr>
            <p:nvPr/>
          </p:nvSpPr>
          <p:spPr bwMode="auto">
            <a:xfrm>
              <a:off x="2229830" y="2555417"/>
              <a:ext cx="171376" cy="1717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Freeform 102"/>
            <p:cNvSpPr>
              <a:spLocks noEditPoints="1"/>
            </p:cNvSpPr>
            <p:nvPr/>
          </p:nvSpPr>
          <p:spPr bwMode="auto">
            <a:xfrm>
              <a:off x="2138511" y="2464802"/>
              <a:ext cx="354012" cy="352956"/>
            </a:xfrm>
            <a:custGeom>
              <a:avLst/>
              <a:gdLst>
                <a:gd name="T0" fmla="*/ 212 w 423"/>
                <a:gd name="T1" fmla="*/ 0 h 424"/>
                <a:gd name="T2" fmla="*/ 0 w 423"/>
                <a:gd name="T3" fmla="*/ 212 h 424"/>
                <a:gd name="T4" fmla="*/ 212 w 423"/>
                <a:gd name="T5" fmla="*/ 424 h 424"/>
                <a:gd name="T6" fmla="*/ 423 w 423"/>
                <a:gd name="T7" fmla="*/ 212 h 424"/>
                <a:gd name="T8" fmla="*/ 212 w 423"/>
                <a:gd name="T9" fmla="*/ 0 h 424"/>
                <a:gd name="T10" fmla="*/ 212 w 423"/>
                <a:gd name="T11" fmla="*/ 386 h 424"/>
                <a:gd name="T12" fmla="*/ 38 w 423"/>
                <a:gd name="T13" fmla="*/ 212 h 424"/>
                <a:gd name="T14" fmla="*/ 212 w 423"/>
                <a:gd name="T15" fmla="*/ 38 h 424"/>
                <a:gd name="T16" fmla="*/ 386 w 423"/>
                <a:gd name="T17" fmla="*/ 212 h 424"/>
                <a:gd name="T18" fmla="*/ 212 w 423"/>
                <a:gd name="T19" fmla="*/ 386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3" h="424">
                  <a:moveTo>
                    <a:pt x="212" y="0"/>
                  </a:moveTo>
                  <a:cubicBezTo>
                    <a:pt x="95" y="0"/>
                    <a:pt x="0" y="95"/>
                    <a:pt x="0" y="212"/>
                  </a:cubicBezTo>
                  <a:cubicBezTo>
                    <a:pt x="0" y="329"/>
                    <a:pt x="95" y="424"/>
                    <a:pt x="212" y="424"/>
                  </a:cubicBezTo>
                  <a:cubicBezTo>
                    <a:pt x="329" y="424"/>
                    <a:pt x="423" y="329"/>
                    <a:pt x="423" y="212"/>
                  </a:cubicBezTo>
                  <a:cubicBezTo>
                    <a:pt x="423" y="95"/>
                    <a:pt x="329" y="0"/>
                    <a:pt x="212" y="0"/>
                  </a:cubicBezTo>
                  <a:close/>
                  <a:moveTo>
                    <a:pt x="212" y="386"/>
                  </a:moveTo>
                  <a:cubicBezTo>
                    <a:pt x="116" y="386"/>
                    <a:pt x="38" y="308"/>
                    <a:pt x="38" y="212"/>
                  </a:cubicBezTo>
                  <a:cubicBezTo>
                    <a:pt x="38" y="116"/>
                    <a:pt x="116" y="38"/>
                    <a:pt x="212" y="38"/>
                  </a:cubicBezTo>
                  <a:cubicBezTo>
                    <a:pt x="308" y="38"/>
                    <a:pt x="386" y="116"/>
                    <a:pt x="386" y="212"/>
                  </a:cubicBezTo>
                  <a:cubicBezTo>
                    <a:pt x="386" y="308"/>
                    <a:pt x="308" y="386"/>
                    <a:pt x="212" y="3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4" name="Group 103"/>
          <p:cNvGrpSpPr/>
          <p:nvPr/>
        </p:nvGrpSpPr>
        <p:grpSpPr>
          <a:xfrm>
            <a:off x="1894860" y="3326439"/>
            <a:ext cx="277647" cy="276819"/>
            <a:chOff x="2138511" y="2464802"/>
            <a:chExt cx="354012" cy="352956"/>
          </a:xfrm>
          <a:solidFill>
            <a:schemeClr val="accent3"/>
          </a:solidFill>
        </p:grpSpPr>
        <p:sp>
          <p:nvSpPr>
            <p:cNvPr id="105" name="Oval 104"/>
            <p:cNvSpPr>
              <a:spLocks noChangeArrowheads="1"/>
            </p:cNvSpPr>
            <p:nvPr/>
          </p:nvSpPr>
          <p:spPr bwMode="auto">
            <a:xfrm>
              <a:off x="2229830" y="2555417"/>
              <a:ext cx="171376" cy="1717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105"/>
            <p:cNvSpPr>
              <a:spLocks noEditPoints="1"/>
            </p:cNvSpPr>
            <p:nvPr/>
          </p:nvSpPr>
          <p:spPr bwMode="auto">
            <a:xfrm>
              <a:off x="2138511" y="2464802"/>
              <a:ext cx="354012" cy="352956"/>
            </a:xfrm>
            <a:custGeom>
              <a:avLst/>
              <a:gdLst>
                <a:gd name="T0" fmla="*/ 212 w 423"/>
                <a:gd name="T1" fmla="*/ 0 h 424"/>
                <a:gd name="T2" fmla="*/ 0 w 423"/>
                <a:gd name="T3" fmla="*/ 212 h 424"/>
                <a:gd name="T4" fmla="*/ 212 w 423"/>
                <a:gd name="T5" fmla="*/ 424 h 424"/>
                <a:gd name="T6" fmla="*/ 423 w 423"/>
                <a:gd name="T7" fmla="*/ 212 h 424"/>
                <a:gd name="T8" fmla="*/ 212 w 423"/>
                <a:gd name="T9" fmla="*/ 0 h 424"/>
                <a:gd name="T10" fmla="*/ 212 w 423"/>
                <a:gd name="T11" fmla="*/ 386 h 424"/>
                <a:gd name="T12" fmla="*/ 38 w 423"/>
                <a:gd name="T13" fmla="*/ 212 h 424"/>
                <a:gd name="T14" fmla="*/ 212 w 423"/>
                <a:gd name="T15" fmla="*/ 38 h 424"/>
                <a:gd name="T16" fmla="*/ 386 w 423"/>
                <a:gd name="T17" fmla="*/ 212 h 424"/>
                <a:gd name="T18" fmla="*/ 212 w 423"/>
                <a:gd name="T19" fmla="*/ 386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3" h="424">
                  <a:moveTo>
                    <a:pt x="212" y="0"/>
                  </a:moveTo>
                  <a:cubicBezTo>
                    <a:pt x="95" y="0"/>
                    <a:pt x="0" y="95"/>
                    <a:pt x="0" y="212"/>
                  </a:cubicBezTo>
                  <a:cubicBezTo>
                    <a:pt x="0" y="329"/>
                    <a:pt x="95" y="424"/>
                    <a:pt x="212" y="424"/>
                  </a:cubicBezTo>
                  <a:cubicBezTo>
                    <a:pt x="329" y="424"/>
                    <a:pt x="423" y="329"/>
                    <a:pt x="423" y="212"/>
                  </a:cubicBezTo>
                  <a:cubicBezTo>
                    <a:pt x="423" y="95"/>
                    <a:pt x="329" y="0"/>
                    <a:pt x="212" y="0"/>
                  </a:cubicBezTo>
                  <a:close/>
                  <a:moveTo>
                    <a:pt x="212" y="386"/>
                  </a:moveTo>
                  <a:cubicBezTo>
                    <a:pt x="116" y="386"/>
                    <a:pt x="38" y="308"/>
                    <a:pt x="38" y="212"/>
                  </a:cubicBezTo>
                  <a:cubicBezTo>
                    <a:pt x="38" y="116"/>
                    <a:pt x="116" y="38"/>
                    <a:pt x="212" y="38"/>
                  </a:cubicBezTo>
                  <a:cubicBezTo>
                    <a:pt x="308" y="38"/>
                    <a:pt x="386" y="116"/>
                    <a:pt x="386" y="212"/>
                  </a:cubicBezTo>
                  <a:cubicBezTo>
                    <a:pt x="386" y="308"/>
                    <a:pt x="308" y="386"/>
                    <a:pt x="212" y="3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1894860" y="4192576"/>
            <a:ext cx="277647" cy="276819"/>
            <a:chOff x="2138511" y="2464802"/>
            <a:chExt cx="354012" cy="352956"/>
          </a:xfrm>
          <a:solidFill>
            <a:schemeClr val="bg1">
              <a:lumMod val="50000"/>
            </a:schemeClr>
          </a:solidFill>
        </p:grpSpPr>
        <p:sp>
          <p:nvSpPr>
            <p:cNvPr id="108" name="Oval 107"/>
            <p:cNvSpPr>
              <a:spLocks noChangeArrowheads="1"/>
            </p:cNvSpPr>
            <p:nvPr/>
          </p:nvSpPr>
          <p:spPr bwMode="auto">
            <a:xfrm>
              <a:off x="2229830" y="2555417"/>
              <a:ext cx="171376" cy="1717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108"/>
            <p:cNvSpPr>
              <a:spLocks noEditPoints="1"/>
            </p:cNvSpPr>
            <p:nvPr/>
          </p:nvSpPr>
          <p:spPr bwMode="auto">
            <a:xfrm>
              <a:off x="2138511" y="2464802"/>
              <a:ext cx="354012" cy="352956"/>
            </a:xfrm>
            <a:custGeom>
              <a:avLst/>
              <a:gdLst>
                <a:gd name="T0" fmla="*/ 212 w 423"/>
                <a:gd name="T1" fmla="*/ 0 h 424"/>
                <a:gd name="T2" fmla="*/ 0 w 423"/>
                <a:gd name="T3" fmla="*/ 212 h 424"/>
                <a:gd name="T4" fmla="*/ 212 w 423"/>
                <a:gd name="T5" fmla="*/ 424 h 424"/>
                <a:gd name="T6" fmla="*/ 423 w 423"/>
                <a:gd name="T7" fmla="*/ 212 h 424"/>
                <a:gd name="T8" fmla="*/ 212 w 423"/>
                <a:gd name="T9" fmla="*/ 0 h 424"/>
                <a:gd name="T10" fmla="*/ 212 w 423"/>
                <a:gd name="T11" fmla="*/ 386 h 424"/>
                <a:gd name="T12" fmla="*/ 38 w 423"/>
                <a:gd name="T13" fmla="*/ 212 h 424"/>
                <a:gd name="T14" fmla="*/ 212 w 423"/>
                <a:gd name="T15" fmla="*/ 38 h 424"/>
                <a:gd name="T16" fmla="*/ 386 w 423"/>
                <a:gd name="T17" fmla="*/ 212 h 424"/>
                <a:gd name="T18" fmla="*/ 212 w 423"/>
                <a:gd name="T19" fmla="*/ 386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3" h="424">
                  <a:moveTo>
                    <a:pt x="212" y="0"/>
                  </a:moveTo>
                  <a:cubicBezTo>
                    <a:pt x="95" y="0"/>
                    <a:pt x="0" y="95"/>
                    <a:pt x="0" y="212"/>
                  </a:cubicBezTo>
                  <a:cubicBezTo>
                    <a:pt x="0" y="329"/>
                    <a:pt x="95" y="424"/>
                    <a:pt x="212" y="424"/>
                  </a:cubicBezTo>
                  <a:cubicBezTo>
                    <a:pt x="329" y="424"/>
                    <a:pt x="423" y="329"/>
                    <a:pt x="423" y="212"/>
                  </a:cubicBezTo>
                  <a:cubicBezTo>
                    <a:pt x="423" y="95"/>
                    <a:pt x="329" y="0"/>
                    <a:pt x="212" y="0"/>
                  </a:cubicBezTo>
                  <a:close/>
                  <a:moveTo>
                    <a:pt x="212" y="386"/>
                  </a:moveTo>
                  <a:cubicBezTo>
                    <a:pt x="116" y="386"/>
                    <a:pt x="38" y="308"/>
                    <a:pt x="38" y="212"/>
                  </a:cubicBezTo>
                  <a:cubicBezTo>
                    <a:pt x="38" y="116"/>
                    <a:pt x="116" y="38"/>
                    <a:pt x="212" y="38"/>
                  </a:cubicBezTo>
                  <a:cubicBezTo>
                    <a:pt x="308" y="38"/>
                    <a:pt x="386" y="116"/>
                    <a:pt x="386" y="212"/>
                  </a:cubicBezTo>
                  <a:cubicBezTo>
                    <a:pt x="386" y="308"/>
                    <a:pt x="308" y="386"/>
                    <a:pt x="212" y="3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0" name="Group 109"/>
          <p:cNvGrpSpPr/>
          <p:nvPr/>
        </p:nvGrpSpPr>
        <p:grpSpPr>
          <a:xfrm>
            <a:off x="1894860" y="5039893"/>
            <a:ext cx="277647" cy="276819"/>
            <a:chOff x="2138511" y="2464802"/>
            <a:chExt cx="354012" cy="352956"/>
          </a:xfrm>
          <a:solidFill>
            <a:srgbClr val="00B0F0"/>
          </a:solidFill>
        </p:grpSpPr>
        <p:sp>
          <p:nvSpPr>
            <p:cNvPr id="112" name="Oval 111"/>
            <p:cNvSpPr>
              <a:spLocks noChangeArrowheads="1"/>
            </p:cNvSpPr>
            <p:nvPr/>
          </p:nvSpPr>
          <p:spPr bwMode="auto">
            <a:xfrm>
              <a:off x="2229830" y="2555417"/>
              <a:ext cx="171376" cy="1717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" name="Freeform 112"/>
            <p:cNvSpPr>
              <a:spLocks noEditPoints="1"/>
            </p:cNvSpPr>
            <p:nvPr/>
          </p:nvSpPr>
          <p:spPr bwMode="auto">
            <a:xfrm>
              <a:off x="2138511" y="2464802"/>
              <a:ext cx="354012" cy="352956"/>
            </a:xfrm>
            <a:custGeom>
              <a:avLst/>
              <a:gdLst>
                <a:gd name="T0" fmla="*/ 212 w 423"/>
                <a:gd name="T1" fmla="*/ 0 h 424"/>
                <a:gd name="T2" fmla="*/ 0 w 423"/>
                <a:gd name="T3" fmla="*/ 212 h 424"/>
                <a:gd name="T4" fmla="*/ 212 w 423"/>
                <a:gd name="T5" fmla="*/ 424 h 424"/>
                <a:gd name="T6" fmla="*/ 423 w 423"/>
                <a:gd name="T7" fmla="*/ 212 h 424"/>
                <a:gd name="T8" fmla="*/ 212 w 423"/>
                <a:gd name="T9" fmla="*/ 0 h 424"/>
                <a:gd name="T10" fmla="*/ 212 w 423"/>
                <a:gd name="T11" fmla="*/ 386 h 424"/>
                <a:gd name="T12" fmla="*/ 38 w 423"/>
                <a:gd name="T13" fmla="*/ 212 h 424"/>
                <a:gd name="T14" fmla="*/ 212 w 423"/>
                <a:gd name="T15" fmla="*/ 38 h 424"/>
                <a:gd name="T16" fmla="*/ 386 w 423"/>
                <a:gd name="T17" fmla="*/ 212 h 424"/>
                <a:gd name="T18" fmla="*/ 212 w 423"/>
                <a:gd name="T19" fmla="*/ 386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3" h="424">
                  <a:moveTo>
                    <a:pt x="212" y="0"/>
                  </a:moveTo>
                  <a:cubicBezTo>
                    <a:pt x="95" y="0"/>
                    <a:pt x="0" y="95"/>
                    <a:pt x="0" y="212"/>
                  </a:cubicBezTo>
                  <a:cubicBezTo>
                    <a:pt x="0" y="329"/>
                    <a:pt x="95" y="424"/>
                    <a:pt x="212" y="424"/>
                  </a:cubicBezTo>
                  <a:cubicBezTo>
                    <a:pt x="329" y="424"/>
                    <a:pt x="423" y="329"/>
                    <a:pt x="423" y="212"/>
                  </a:cubicBezTo>
                  <a:cubicBezTo>
                    <a:pt x="423" y="95"/>
                    <a:pt x="329" y="0"/>
                    <a:pt x="212" y="0"/>
                  </a:cubicBezTo>
                  <a:close/>
                  <a:moveTo>
                    <a:pt x="212" y="386"/>
                  </a:moveTo>
                  <a:cubicBezTo>
                    <a:pt x="116" y="386"/>
                    <a:pt x="38" y="308"/>
                    <a:pt x="38" y="212"/>
                  </a:cubicBezTo>
                  <a:cubicBezTo>
                    <a:pt x="38" y="116"/>
                    <a:pt x="116" y="38"/>
                    <a:pt x="212" y="38"/>
                  </a:cubicBezTo>
                  <a:cubicBezTo>
                    <a:pt x="308" y="38"/>
                    <a:pt x="386" y="116"/>
                    <a:pt x="386" y="212"/>
                  </a:cubicBezTo>
                  <a:cubicBezTo>
                    <a:pt x="386" y="308"/>
                    <a:pt x="308" y="386"/>
                    <a:pt x="212" y="3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2172509" y="2401418"/>
            <a:ext cx="2188443" cy="578322"/>
            <a:chOff x="2615766" y="2382903"/>
            <a:chExt cx="2188443" cy="578322"/>
          </a:xfrm>
        </p:grpSpPr>
        <p:sp>
          <p:nvSpPr>
            <p:cNvPr id="115" name="TextBox 114"/>
            <p:cNvSpPr txBox="1"/>
            <p:nvPr/>
          </p:nvSpPr>
          <p:spPr>
            <a:xfrm>
              <a:off x="2615766" y="2382903"/>
              <a:ext cx="157748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MX" sz="2000" dirty="0" smtClean="0">
                  <a:solidFill>
                    <a:schemeClr val="bg1">
                      <a:lumMod val="50000"/>
                    </a:schemeClr>
                  </a:solidFill>
                </a:rPr>
                <a:t>Impresión 3D</a:t>
              </a:r>
              <a:endParaRPr lang="id-ID" sz="2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2615766" y="2638060"/>
              <a:ext cx="2188443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s-MX" sz="1000" dirty="0" smtClean="0">
                  <a:solidFill>
                    <a:schemeClr val="bg1">
                      <a:lumMod val="65000"/>
                    </a:schemeClr>
                  </a:solidFill>
                </a:rPr>
                <a:t>Mercado emergente</a:t>
              </a:r>
              <a:endParaRPr lang="en-US" sz="10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2172509" y="3259596"/>
            <a:ext cx="2510624" cy="578322"/>
            <a:chOff x="2615766" y="3418610"/>
            <a:chExt cx="2510624" cy="578322"/>
          </a:xfrm>
        </p:grpSpPr>
        <p:sp>
          <p:nvSpPr>
            <p:cNvPr id="120" name="TextBox 119"/>
            <p:cNvSpPr txBox="1"/>
            <p:nvPr/>
          </p:nvSpPr>
          <p:spPr>
            <a:xfrm>
              <a:off x="2615766" y="3418610"/>
              <a:ext cx="251062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MX" sz="2000" dirty="0" smtClean="0">
                  <a:solidFill>
                    <a:schemeClr val="bg1">
                      <a:lumMod val="50000"/>
                    </a:schemeClr>
                  </a:solidFill>
                </a:rPr>
                <a:t>Cableado de 110-220v</a:t>
              </a:r>
              <a:endParaRPr lang="id-ID" sz="2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24" name="TextBox 123"/>
            <p:cNvSpPr txBox="1"/>
            <p:nvPr/>
          </p:nvSpPr>
          <p:spPr>
            <a:xfrm>
              <a:off x="2615766" y="3673767"/>
              <a:ext cx="2188443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s-MX" sz="1000" dirty="0" smtClean="0">
                  <a:solidFill>
                    <a:schemeClr val="bg1">
                      <a:lumMod val="65000"/>
                    </a:schemeClr>
                  </a:solidFill>
                </a:rPr>
                <a:t>Revolución en la industria</a:t>
              </a:r>
              <a:endParaRPr lang="en-US" sz="10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2172509" y="4141415"/>
            <a:ext cx="2188443" cy="578322"/>
            <a:chOff x="2615766" y="4433853"/>
            <a:chExt cx="2188443" cy="578322"/>
          </a:xfrm>
        </p:grpSpPr>
        <p:sp>
          <p:nvSpPr>
            <p:cNvPr id="125" name="TextBox 124"/>
            <p:cNvSpPr txBox="1"/>
            <p:nvPr/>
          </p:nvSpPr>
          <p:spPr>
            <a:xfrm>
              <a:off x="2615766" y="4433853"/>
              <a:ext cx="213391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MX" sz="2000" dirty="0" smtClean="0">
                  <a:solidFill>
                    <a:schemeClr val="bg1">
                      <a:lumMod val="50000"/>
                    </a:schemeClr>
                  </a:solidFill>
                </a:rPr>
                <a:t>Motores eléctricos</a:t>
              </a:r>
              <a:endParaRPr lang="id-ID" sz="2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26" name="TextBox 125"/>
            <p:cNvSpPr txBox="1"/>
            <p:nvPr/>
          </p:nvSpPr>
          <p:spPr>
            <a:xfrm>
              <a:off x="2615766" y="4689010"/>
              <a:ext cx="2188443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s-MX" sz="1000" dirty="0" smtClean="0">
                  <a:solidFill>
                    <a:schemeClr val="bg1">
                      <a:lumMod val="65000"/>
                    </a:schemeClr>
                  </a:solidFill>
                </a:rPr>
                <a:t>Alternativas sustentables</a:t>
              </a:r>
              <a:endParaRPr lang="en-US" sz="10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2172509" y="4978662"/>
            <a:ext cx="2587118" cy="578322"/>
            <a:chOff x="2615766" y="5589923"/>
            <a:chExt cx="2587118" cy="578322"/>
          </a:xfrm>
        </p:grpSpPr>
        <p:sp>
          <p:nvSpPr>
            <p:cNvPr id="127" name="TextBox 126"/>
            <p:cNvSpPr txBox="1"/>
            <p:nvPr/>
          </p:nvSpPr>
          <p:spPr>
            <a:xfrm>
              <a:off x="2615766" y="5589923"/>
              <a:ext cx="258711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MX" sz="2000" dirty="0" smtClean="0">
                  <a:solidFill>
                    <a:schemeClr val="bg1">
                      <a:lumMod val="50000"/>
                    </a:schemeClr>
                  </a:solidFill>
                </a:rPr>
                <a:t>Cableado de automóvil</a:t>
              </a:r>
              <a:endParaRPr lang="id-ID" sz="2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31" name="TextBox 130"/>
            <p:cNvSpPr txBox="1"/>
            <p:nvPr/>
          </p:nvSpPr>
          <p:spPr>
            <a:xfrm>
              <a:off x="2615766" y="5845080"/>
              <a:ext cx="2188443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s-MX" sz="1000" dirty="0" smtClean="0">
                  <a:solidFill>
                    <a:schemeClr val="bg1">
                      <a:lumMod val="65000"/>
                    </a:schemeClr>
                  </a:solidFill>
                </a:rPr>
                <a:t>Futuros de materiales conductores</a:t>
              </a:r>
              <a:endParaRPr lang="en-US" sz="10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9620826" y="6162401"/>
            <a:ext cx="6014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3200" b="1" dirty="0" smtClean="0">
                <a:solidFill>
                  <a:schemeClr val="bg1"/>
                </a:solidFill>
              </a:rPr>
              <a:t>01</a:t>
            </a:r>
            <a:endParaRPr lang="id-ID" sz="3200" b="1" dirty="0">
              <a:solidFill>
                <a:schemeClr val="bg1"/>
              </a:solidFill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9580579" y="5024324"/>
            <a:ext cx="6014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3200" b="1" dirty="0" smtClean="0">
                <a:solidFill>
                  <a:schemeClr val="bg1"/>
                </a:solidFill>
              </a:rPr>
              <a:t>02</a:t>
            </a:r>
            <a:endParaRPr lang="id-ID" sz="3200" b="1" dirty="0">
              <a:solidFill>
                <a:schemeClr val="bg1"/>
              </a:solidFill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10528342" y="4469395"/>
            <a:ext cx="6014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3200" b="1" dirty="0" smtClean="0">
                <a:solidFill>
                  <a:schemeClr val="bg1"/>
                </a:solidFill>
              </a:rPr>
              <a:t>03</a:t>
            </a:r>
            <a:endParaRPr lang="id-ID" sz="3200" b="1" dirty="0">
              <a:solidFill>
                <a:schemeClr val="bg1"/>
              </a:solidFill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11510915" y="4197589"/>
            <a:ext cx="6014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3200" b="1" dirty="0" smtClean="0">
                <a:solidFill>
                  <a:schemeClr val="bg1"/>
                </a:solidFill>
              </a:rPr>
              <a:t>04</a:t>
            </a:r>
            <a:endParaRPr lang="id-ID" sz="3200" b="1" dirty="0">
              <a:solidFill>
                <a:schemeClr val="bg1"/>
              </a:solidFill>
            </a:endParaRPr>
          </a:p>
        </p:txBody>
      </p:sp>
      <p:sp>
        <p:nvSpPr>
          <p:cNvPr id="54" name="Rectángulo 53"/>
          <p:cNvSpPr/>
          <p:nvPr/>
        </p:nvSpPr>
        <p:spPr>
          <a:xfrm>
            <a:off x="3618456" y="620429"/>
            <a:ext cx="714876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2800" b="1" dirty="0" smtClean="0">
                <a:latin typeface="Aleo Regular"/>
                <a:sym typeface="Aleo Regular" charset="0"/>
              </a:rPr>
              <a:t>Escalabilidades </a:t>
            </a:r>
            <a:r>
              <a:rPr lang="es-MX" sz="2800" b="1" dirty="0" smtClean="0">
                <a:solidFill>
                  <a:srgbClr val="00B0F0"/>
                </a:solidFill>
                <a:latin typeface="Aleo Regular"/>
                <a:sym typeface="Aleo Regular" charset="0"/>
              </a:rPr>
              <a:t>de Mercado</a:t>
            </a:r>
            <a:endParaRPr lang="es-MX" sz="2800" dirty="0">
              <a:solidFill>
                <a:srgbClr val="00B0F0"/>
              </a:solidFill>
              <a:latin typeface="Aleo Regular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9120" y="5340992"/>
            <a:ext cx="1829209" cy="1344224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342976">
            <a:off x="6525705" y="3194284"/>
            <a:ext cx="1587227" cy="973499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5256" y="153279"/>
            <a:ext cx="1505819" cy="1209169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9539" y="1763958"/>
            <a:ext cx="1170972" cy="831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128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2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0"/>
                            </p:stCondLst>
                            <p:childTnLst>
                              <p:par>
                                <p:cTn id="5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500"/>
                            </p:stCondLst>
                            <p:childTnLst>
                              <p:par>
                                <p:cTn id="5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0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500"/>
                            </p:stCondLst>
                            <p:childTnLst>
                              <p:par>
                                <p:cTn id="65" presetID="2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7000"/>
                            </p:stCondLst>
                            <p:childTnLst>
                              <p:par>
                                <p:cTn id="7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7500"/>
                            </p:stCondLst>
                            <p:childTnLst>
                              <p:par>
                                <p:cTn id="7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8000"/>
                            </p:stCondLst>
                            <p:childTnLst>
                              <p:par>
                                <p:cTn id="8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8500"/>
                            </p:stCondLst>
                            <p:childTnLst>
                              <p:par>
                                <p:cTn id="84" presetID="2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9000"/>
                            </p:stCondLst>
                            <p:childTnLst>
                              <p:par>
                                <p:cTn id="8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3" grpId="0" animBg="1"/>
      <p:bldP spid="38" grpId="0"/>
      <p:bldP spid="132" grpId="0"/>
      <p:bldP spid="133" grpId="0"/>
      <p:bldP spid="13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6</TotalTime>
  <Words>430</Words>
  <Application>Microsoft Office PowerPoint</Application>
  <PresentationFormat>Panorámica</PresentationFormat>
  <Paragraphs>102</Paragraphs>
  <Slides>12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22" baseType="lpstr">
      <vt:lpstr>ＭＳ Ｐゴシック</vt:lpstr>
      <vt:lpstr>Aleo Regular</vt:lpstr>
      <vt:lpstr>Arial</vt:lpstr>
      <vt:lpstr>Calibri</vt:lpstr>
      <vt:lpstr>Calibri Light</vt:lpstr>
      <vt:lpstr>Gill Sans</vt:lpstr>
      <vt:lpstr>Lato Light</vt:lpstr>
      <vt:lpstr>Muli</vt:lpstr>
      <vt:lpstr>Tema de Office</vt:lpstr>
      <vt:lpstr>think-cell Slide</vt:lpstr>
      <vt:lpstr>Presentación de PowerPoint</vt:lpstr>
      <vt:lpstr>Presentación de PowerPoint</vt:lpstr>
      <vt:lpstr>Y el problema continua…</vt:lpstr>
      <vt:lpstr>Presentación de PowerPoint</vt:lpstr>
      <vt:lpstr>Nuestra solución es…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3ILAB16</dc:creator>
  <cp:lastModifiedBy>A3ILAB16</cp:lastModifiedBy>
  <cp:revision>20</cp:revision>
  <dcterms:created xsi:type="dcterms:W3CDTF">2016-04-15T17:33:33Z</dcterms:created>
  <dcterms:modified xsi:type="dcterms:W3CDTF">2016-04-16T22:39:29Z</dcterms:modified>
</cp:coreProperties>
</file>